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7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6"/>
  </p:sldMasterIdLst>
  <p:notesMasterIdLst>
    <p:notesMasterId r:id="rId19"/>
  </p:notesMasterIdLst>
  <p:handoutMasterIdLst>
    <p:handoutMasterId r:id="rId20"/>
  </p:handoutMasterIdLst>
  <p:sldIdLst>
    <p:sldId id="751" r:id="rId7"/>
    <p:sldId id="736" r:id="rId8"/>
    <p:sldId id="737" r:id="rId9"/>
    <p:sldId id="742" r:id="rId10"/>
    <p:sldId id="747" r:id="rId11"/>
    <p:sldId id="741" r:id="rId12"/>
    <p:sldId id="759" r:id="rId13"/>
    <p:sldId id="745" r:id="rId14"/>
    <p:sldId id="760" r:id="rId15"/>
    <p:sldId id="757" r:id="rId16"/>
    <p:sldId id="761" r:id="rId17"/>
    <p:sldId id="738" r:id="rId18"/>
  </p:sldIdLst>
  <p:sldSz cx="12192000" cy="6858000"/>
  <p:notesSz cx="6797675" cy="9928225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E6F55AF-A2AE-4C08-8483-CE1E13F97491}">
          <p14:sldIdLst>
            <p14:sldId id="751"/>
            <p14:sldId id="736"/>
            <p14:sldId id="737"/>
            <p14:sldId id="742"/>
            <p14:sldId id="747"/>
            <p14:sldId id="741"/>
          </p14:sldIdLst>
        </p14:section>
        <p14:section name="Раздел без заголовка" id="{74039792-A944-4E76-868E-E871545A395A}">
          <p14:sldIdLst>
            <p14:sldId id="759"/>
            <p14:sldId id="745"/>
            <p14:sldId id="760"/>
            <p14:sldId id="757"/>
            <p14:sldId id="761"/>
            <p14:sldId id="73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Шлитер Татьяна Юрьевна" initials="ШТЮ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BFBFB"/>
    <a:srgbClr val="008E22"/>
    <a:srgbClr val="797600"/>
    <a:srgbClr val="BFBD00"/>
    <a:srgbClr val="004A12"/>
    <a:srgbClr val="00D633"/>
    <a:srgbClr val="93FFAD"/>
    <a:srgbClr val="00BC2D"/>
    <a:srgbClr val="00B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28" autoAdjust="0"/>
    <p:restoredTop sz="94625" autoAdjust="0"/>
  </p:normalViewPr>
  <p:slideViewPr>
    <p:cSldViewPr snapToGrid="0" showGuides="1">
      <p:cViewPr varScale="1">
        <p:scale>
          <a:sx n="98" d="100"/>
          <a:sy n="98" d="100"/>
        </p:scale>
        <p:origin x="72" y="27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8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9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071307300509338E-2"/>
          <c:y val="0.141602634467618"/>
          <c:w val="0.89516129032258063"/>
          <c:h val="0.7167947310647639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9371816638370118"/>
                  <c:y val="1.0976945372289456E-2"/>
                </c:manualLayout>
              </c:layout>
              <c:tx>
                <c:rich>
                  <a:bodyPr vertOverflow="overflow" horzOverflow="overflow" wrap="none" spcCol="36000">
                    <a:normAutofit/>
                  </a:bodyPr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47,855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  <a:effectLst>
                  <a:softEdge rad="190500"/>
                </a:effectLst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-7.8755704517526406E-3"/>
                  <c:y val="-1.536703099750867E-2"/>
                </c:manualLayout>
              </c:layout>
              <c:tx>
                <c:rich>
                  <a:bodyPr vertOverflow="overflow" horzOverflow="overflow" wrap="none" spcCol="36000">
                    <a:normAutofit/>
                  </a:bodyPr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dirty="0" smtClean="0"/>
                  </a:p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01845</a:t>
                    </a:r>
                    <a:endParaRPr lang="en-US" dirty="0" smtClean="0"/>
                  </a:p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  <a:effectLst>
                  <a:softEdge rad="190500"/>
                </a:effectLst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9.7751580447153805E-2"/>
                      <c:h val="0.2374097038264764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>
                <a:softEdge rad="190500"/>
              </a:effectLst>
            </c:sp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val>
            <c:numRef>
              <c:f>Sheet1!$A$1:$B$1</c:f>
              <c:numCache>
                <c:formatCode>#\ ##0.0;"-"#\ ##0.0</c:formatCode>
                <c:ptCount val="2"/>
                <c:pt idx="0" formatCode="#\ ##0.000;&quot;-&quot;#\ ##0.000">
                  <c:v>47.854999999999997</c:v>
                </c:pt>
                <c:pt idx="1">
                  <c:v>1017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039-4269-89B1-CA7FD25213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90"/>
        <c:axId val="341476432"/>
        <c:axId val="341141784"/>
      </c:barChart>
      <c:catAx>
        <c:axId val="3414764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41141784"/>
        <c:crosses val="min"/>
        <c:auto val="0"/>
        <c:lblAlgn val="ctr"/>
        <c:lblOffset val="100"/>
        <c:noMultiLvlLbl val="0"/>
      </c:catAx>
      <c:valAx>
        <c:axId val="341141784"/>
        <c:scaling>
          <c:orientation val="minMax"/>
          <c:max val="86.6"/>
          <c:min val="0"/>
        </c:scaling>
        <c:delete val="1"/>
        <c:axPos val="t"/>
        <c:numFmt formatCode="#\ ##0.000;&quot;-&quot;#\ ##0.000" sourceLinked="1"/>
        <c:majorTickMark val="out"/>
        <c:minorTickMark val="none"/>
        <c:tickLblPos val="nextTo"/>
        <c:crossAx val="3414764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271062271062272E-2"/>
          <c:y val="0.23626373626373626"/>
          <c:w val="0.74139194139194142"/>
          <c:h val="0.5274725274725274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5567765567765567"/>
                  <c:y val="3.663003663003663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6,515</a:t>
                    </a:r>
                    <a:endParaRPr lang="en-US" dirty="0"/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03B6-49B3-A66A-D510C4A76F7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5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3B6-49B3-A66A-D510C4A76F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2032176"/>
        <c:axId val="342033352"/>
      </c:barChart>
      <c:catAx>
        <c:axId val="34203217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42033352"/>
        <c:crosses val="min"/>
        <c:auto val="0"/>
        <c:lblAlgn val="ctr"/>
        <c:lblOffset val="100"/>
        <c:noMultiLvlLbl val="0"/>
      </c:catAx>
      <c:valAx>
        <c:axId val="342033352"/>
        <c:scaling>
          <c:orientation val="minMax"/>
          <c:max val="25.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420321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49329758713138"/>
          <c:y val="0.22872340425531915"/>
          <c:w val="0.46327077747989276"/>
          <c:h val="0.5425531914893616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2064343163538872"/>
                  <c:y val="3.5460992907801418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3841,03</a:t>
                    </a:r>
                    <a:endParaRPr lang="en-US" dirty="0"/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6C1-41DA-ABB9-D3E0BF25C87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3409.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6C1-41DA-ABB9-D3E0BF25C8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2031392"/>
        <c:axId val="342031784"/>
      </c:barChart>
      <c:catAx>
        <c:axId val="34203139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42031784"/>
        <c:crosses val="min"/>
        <c:auto val="0"/>
        <c:lblAlgn val="ctr"/>
        <c:lblOffset val="100"/>
        <c:noMultiLvlLbl val="0"/>
      </c:catAx>
      <c:valAx>
        <c:axId val="342031784"/>
        <c:scaling>
          <c:orientation val="minMax"/>
          <c:max val="3409.0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42031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00804289544236"/>
          <c:y val="0.23201438848920863"/>
          <c:w val="0.26809651474530832"/>
          <c:h val="0.5359712230215827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230563002680965"/>
                  <c:y val="3.5971223021582736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804,81</a:t>
                    </a:r>
                    <a:endParaRPr lang="en-US" dirty="0"/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9F7-4B15-A4E8-C74B8D59BBD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832.6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9F7-4B15-A4E8-C74B8D59B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2032960"/>
        <c:axId val="342033744"/>
      </c:barChart>
      <c:catAx>
        <c:axId val="3420329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42033744"/>
        <c:crosses val="min"/>
        <c:auto val="0"/>
        <c:lblAlgn val="ctr"/>
        <c:lblOffset val="100"/>
        <c:noMultiLvlLbl val="0"/>
      </c:catAx>
      <c:valAx>
        <c:axId val="342033744"/>
        <c:scaling>
          <c:orientation val="minMax"/>
          <c:max val="1832.6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420329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01627486437613E-2"/>
          <c:y val="0.2179054054054054"/>
          <c:w val="0.8309222423146474"/>
          <c:h val="0.564189189189189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4527989921274735E-2"/>
                </c:manualLayout>
              </c:layout>
              <c:tx>
                <c:rich>
                  <a:bodyPr vertOverflow="overflow" horzOverflow="overflow" wrap="none">
                    <a:spAutoFit/>
                  </a:bodyPr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53990</a:t>
                    </a:r>
                    <a:endParaRPr lang="en-US" dirty="0" smtClean="0"/>
                  </a:p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dirty="0"/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#\ ##0;"-"#\ ##0</c:formatCode>
                <c:ptCount val="1"/>
                <c:pt idx="0">
                  <c:v>5384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433-4AA9-B8EB-5170530498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2676872"/>
        <c:axId val="342676088"/>
      </c:barChart>
      <c:catAx>
        <c:axId val="34267687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42676088"/>
        <c:crosses val="min"/>
        <c:auto val="0"/>
        <c:lblAlgn val="ctr"/>
        <c:lblOffset val="100"/>
        <c:noMultiLvlLbl val="0"/>
      </c:catAx>
      <c:valAx>
        <c:axId val="342676088"/>
        <c:scaling>
          <c:orientation val="minMax"/>
          <c:max val="40.1"/>
          <c:min val="0"/>
        </c:scaling>
        <c:delete val="1"/>
        <c:axPos val="t"/>
        <c:numFmt formatCode="#\ ##0;&quot;-&quot;#\ ##0" sourceLinked="1"/>
        <c:majorTickMark val="out"/>
        <c:minorTickMark val="none"/>
        <c:tickLblPos val="nextTo"/>
        <c:crossAx val="3426768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82774049217001E-2"/>
          <c:y val="2.9082774049217001E-2"/>
          <c:w val="0.94183445190156601"/>
          <c:h val="0.9418344519015660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80808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F6CE-462F-AAE0-18EC21893D1C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6CE-462F-AAE0-18EC21893D1C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F6CE-462F-AAE0-18EC21893D1C}"/>
              </c:ext>
            </c:extLst>
          </c:dPt>
          <c:dPt>
            <c:idx val="3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6CE-462F-AAE0-18EC21893D1C}"/>
              </c:ext>
            </c:extLst>
          </c:dPt>
          <c:dPt>
            <c:idx val="4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F6CE-462F-AAE0-18EC21893D1C}"/>
              </c:ext>
            </c:extLst>
          </c:dPt>
          <c:dPt>
            <c:idx val="5"/>
            <c:bubble3D val="0"/>
            <c:spPr>
              <a:solidFill>
                <a:srgbClr val="DFE5EF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6CE-462F-AAE0-18EC21893D1C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 formatCode="#,##0">
                  <c:v>15623</c:v>
                </c:pt>
                <c:pt idx="1">
                  <c:v>1881</c:v>
                </c:pt>
                <c:pt idx="2">
                  <c:v>2088</c:v>
                </c:pt>
                <c:pt idx="3">
                  <c:v>636</c:v>
                </c:pt>
                <c:pt idx="4">
                  <c:v>6227</c:v>
                </c:pt>
                <c:pt idx="5">
                  <c:v>6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F6CE-462F-AAE0-18EC21893D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721393034825873"/>
          <c:y val="0.18235294117647058"/>
          <c:w val="0.71741293532338313"/>
          <c:h val="0.6911764705882352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725490196078433"/>
                </c:manualLayout>
              </c:layout>
              <c:numFmt formatCode="#,##0.00;&quot;-&quot;#,##0.00" sourceLinked="0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F04-4E22-AEB9-E05C81C02BF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ln>
                <a:noFill/>
              </a:ln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val>
            <c:numRef>
              <c:f>Sheet1!$A$1:$A$1</c:f>
              <c:numCache>
                <c:formatCode>#\ ##0.00;"-"#\ ##0.00</c:formatCode>
                <c:ptCount val="1"/>
                <c:pt idx="0">
                  <c:v>1804.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F04-4E22-AEB9-E05C81C02BF9}"/>
            </c:ex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 xmlns:c16r2="http://schemas.microsoft.com/office/drawing/2015/06/chart"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7932320"/>
        <c:axId val="347932712"/>
      </c:barChart>
      <c:catAx>
        <c:axId val="3479323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47932712"/>
        <c:crosses val="min"/>
        <c:auto val="0"/>
        <c:lblAlgn val="ctr"/>
        <c:lblOffset val="100"/>
        <c:noMultiLvlLbl val="0"/>
      </c:catAx>
      <c:valAx>
        <c:axId val="347932712"/>
        <c:scaling>
          <c:orientation val="minMax"/>
          <c:max val="1882.82"/>
          <c:min val="0"/>
        </c:scaling>
        <c:delete val="1"/>
        <c:axPos val="l"/>
        <c:numFmt formatCode="#\ ##0.00;&quot;-&quot;#\ ##0.00" sourceLinked="1"/>
        <c:majorTickMark val="out"/>
        <c:minorTickMark val="none"/>
        <c:tickLblPos val="nextTo"/>
        <c:crossAx val="347932320"/>
        <c:crosses val="min"/>
        <c:crossBetween val="between"/>
      </c:valAx>
    </c:plotArea>
    <c:plotVisOnly val="0"/>
    <c:dispBlanksAs val="gap"/>
    <c:showDLblsOverMax val="1"/>
  </c:chart>
  <c:txPr>
    <a:bodyPr/>
    <a:lstStyle/>
    <a:p>
      <a:pPr>
        <a:defRPr lang="ru-RU" sz="900" kern="1200">
          <a:solidFill>
            <a:schemeClr val="tx1"/>
          </a:solidFill>
          <a:latin typeface="+mn-lt"/>
          <a:ea typeface="+mn-ea"/>
          <a:cs typeface="+mn-cs"/>
        </a:defRPr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70646766169153E-2"/>
          <c:y val="0.17222222222222222"/>
          <c:w val="0.94825870646766164"/>
          <c:h val="0.70833333333333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0.3564814814814814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A$1</c:f>
              <c:numCache>
                <c:formatCode>#\ ##0.0;"-"#\ ##0.0</c:formatCode>
                <c:ptCount val="1"/>
                <c:pt idx="0">
                  <c:v>25.14477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FBA-46A6-BFD0-6429A84603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7935456"/>
        <c:axId val="347068224"/>
      </c:barChart>
      <c:catAx>
        <c:axId val="3479354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rot="-180000" anchor="ctr" anchorCtr="0"/>
          <a:lstStyle/>
          <a:p>
            <a:pPr>
              <a:defRPr/>
            </a:pPr>
            <a:endParaRPr lang="ru-RU"/>
          </a:p>
        </c:txPr>
        <c:crossAx val="347068224"/>
        <c:crosses val="min"/>
        <c:auto val="0"/>
        <c:lblAlgn val="ctr"/>
        <c:lblOffset val="100"/>
        <c:noMultiLvlLbl val="0"/>
      </c:catAx>
      <c:valAx>
        <c:axId val="347068224"/>
        <c:scaling>
          <c:orientation val="minMax"/>
          <c:max val="29.38"/>
          <c:min val="0"/>
        </c:scaling>
        <c:delete val="1"/>
        <c:axPos val="l"/>
        <c:numFmt formatCode="#\ ##0.0;&quot;-&quot;#\ ##0.0" sourceLinked="1"/>
        <c:majorTickMark val="out"/>
        <c:minorTickMark val="none"/>
        <c:tickLblPos val="nextTo"/>
        <c:crossAx val="3479354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="" xmlns:a16="http://schemas.microsoft.com/office/drawing/2014/main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13.07.2026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13.07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4006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8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64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6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781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4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4754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9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982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4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355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1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38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9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2543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7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437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0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2678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5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5707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73D65E33-BA15-4EA9-8902-2CCA09C138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1999" y="0"/>
            <a:ext cx="6350001" cy="6858000"/>
          </a:xfrm>
          <a:prstGeom prst="rect">
            <a:avLst/>
          </a:prstGeom>
        </p:spPr>
      </p:pic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3748905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4728392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accent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7BF148AC-0540-4140-826E-D8A069924931}"/>
              </a:ext>
            </a:extLst>
          </p:cNvPr>
          <p:cNvSpPr/>
          <p:nvPr userDrawn="1"/>
        </p:nvSpPr>
        <p:spPr>
          <a:xfrm>
            <a:off x="7172961" y="0"/>
            <a:ext cx="501904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8000"/>
                </a:srgbClr>
              </a:gs>
              <a:gs pos="50000">
                <a:srgbClr val="000000">
                  <a:alpha val="0"/>
                </a:srgbClr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5" b="21818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="" xmlns:a16="http://schemas.microsoft.com/office/drawing/2014/main" id="{821E6D0C-E0F7-4B7E-AD91-5196AA0965F0}"/>
              </a:ext>
            </a:extLst>
          </p:cNvPr>
          <p:cNvGrpSpPr/>
          <p:nvPr userDrawn="1"/>
        </p:nvGrpSpPr>
        <p:grpSpPr>
          <a:xfrm>
            <a:off x="4331846" y="-1"/>
            <a:ext cx="2736445" cy="6856917"/>
            <a:chOff x="-3717926" y="327025"/>
            <a:chExt cx="2473326" cy="6197600"/>
          </a:xfrm>
        </p:grpSpPr>
        <p:sp>
          <p:nvSpPr>
            <p:cNvPr id="46" name="Freeform 87">
              <a:extLst>
                <a:ext uri="{FF2B5EF4-FFF2-40B4-BE49-F238E27FC236}">
                  <a16:creationId xmlns="" xmlns:a16="http://schemas.microsoft.com/office/drawing/2014/main" id="{632CCA2A-EBAF-44BB-A7BA-CA3CE441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430588" y="327025"/>
              <a:ext cx="1905001" cy="6197600"/>
            </a:xfrm>
            <a:custGeom>
              <a:avLst/>
              <a:gdLst>
                <a:gd name="T0" fmla="*/ 503 w 503"/>
                <a:gd name="T1" fmla="*/ 1644 h 1644"/>
                <a:gd name="T2" fmla="*/ 486 w 50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03" h="1644">
                  <a:moveTo>
                    <a:pt x="503" y="1644"/>
                  </a:moveTo>
                  <a:cubicBezTo>
                    <a:pt x="0" y="1088"/>
                    <a:pt x="382" y="212"/>
                    <a:pt x="48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88">
              <a:extLst>
                <a:ext uri="{FF2B5EF4-FFF2-40B4-BE49-F238E27FC236}">
                  <a16:creationId xmlns="" xmlns:a16="http://schemas.microsoft.com/office/drawing/2014/main" id="{C6A5B35F-C721-406C-8B76-04524C0BD2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532188" y="327025"/>
              <a:ext cx="2074863" cy="6197600"/>
            </a:xfrm>
            <a:custGeom>
              <a:avLst/>
              <a:gdLst>
                <a:gd name="T0" fmla="*/ 548 w 548"/>
                <a:gd name="T1" fmla="*/ 1644 h 1644"/>
                <a:gd name="T2" fmla="*/ 430 w 548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8" h="1644">
                  <a:moveTo>
                    <a:pt x="548" y="1644"/>
                  </a:moveTo>
                  <a:cubicBezTo>
                    <a:pt x="0" y="1128"/>
                    <a:pt x="324" y="247"/>
                    <a:pt x="430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89">
              <a:extLst>
                <a:ext uri="{FF2B5EF4-FFF2-40B4-BE49-F238E27FC236}">
                  <a16:creationId xmlns="" xmlns:a16="http://schemas.microsoft.com/office/drawing/2014/main" id="{2C89EF69-27F0-4118-AD8B-9353B7E36E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627438" y="327025"/>
              <a:ext cx="2254251" cy="6197600"/>
            </a:xfrm>
            <a:custGeom>
              <a:avLst/>
              <a:gdLst>
                <a:gd name="T0" fmla="*/ 595 w 595"/>
                <a:gd name="T1" fmla="*/ 1644 h 1644"/>
                <a:gd name="T2" fmla="*/ 372 w 595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95" h="1644">
                  <a:moveTo>
                    <a:pt x="595" y="1644"/>
                  </a:moveTo>
                  <a:cubicBezTo>
                    <a:pt x="0" y="1169"/>
                    <a:pt x="268" y="279"/>
                    <a:pt x="372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0">
              <a:extLst>
                <a:ext uri="{FF2B5EF4-FFF2-40B4-BE49-F238E27FC236}">
                  <a16:creationId xmlns="" xmlns:a16="http://schemas.microsoft.com/office/drawing/2014/main" id="{3A98A419-73B4-4548-97B3-E19118E869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717926" y="327025"/>
              <a:ext cx="2473326" cy="6197600"/>
            </a:xfrm>
            <a:custGeom>
              <a:avLst/>
              <a:gdLst>
                <a:gd name="T0" fmla="*/ 653 w 653"/>
                <a:gd name="T1" fmla="*/ 1644 h 1644"/>
                <a:gd name="T2" fmla="*/ 317 w 65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3" h="1644">
                  <a:moveTo>
                    <a:pt x="653" y="1644"/>
                  </a:moveTo>
                  <a:cubicBezTo>
                    <a:pt x="0" y="1212"/>
                    <a:pt x="219" y="307"/>
                    <a:pt x="317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91">
              <a:extLst>
                <a:ext uri="{FF2B5EF4-FFF2-40B4-BE49-F238E27FC236}">
                  <a16:creationId xmlns="" xmlns:a16="http://schemas.microsoft.com/office/drawing/2014/main" id="{CA52F18D-678E-4C63-A950-69F3576EFF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35338" y="327025"/>
              <a:ext cx="2068513" cy="6197600"/>
            </a:xfrm>
            <a:custGeom>
              <a:avLst/>
              <a:gdLst>
                <a:gd name="T0" fmla="*/ 465 w 546"/>
                <a:gd name="T1" fmla="*/ 1644 h 1644"/>
                <a:gd name="T2" fmla="*/ 546 w 546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6" h="1644">
                  <a:moveTo>
                    <a:pt x="465" y="1644"/>
                  </a:moveTo>
                  <a:cubicBezTo>
                    <a:pt x="0" y="1046"/>
                    <a:pt x="454" y="166"/>
                    <a:pt x="54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2479879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5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4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8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65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046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68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8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04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19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1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0064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097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3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2132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66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6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4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553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2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581891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8" name="Слайд think-cell" r:id="rId24" imgW="594" imgH="595" progId="TCLayout.ActiveDocument.1">
                  <p:embed/>
                </p:oleObj>
              </mc:Choice>
              <mc:Fallback>
                <p:oleObj name="Слайд think-cell" r:id="rId2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="" xmlns:a16="http://schemas.microsoft.com/office/drawing/2014/main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2275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z="1200" smtClean="0">
                <a:solidFill>
                  <a:schemeClr val="tx1"/>
                </a:solidFill>
              </a:rPr>
              <a:pPr lvl="0"/>
              <a:t>‹#›</a:t>
            </a:fld>
            <a:endParaRPr lang="ru-RU" sz="1200" dirty="0" smtClean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="" xmlns:a16="http://schemas.microsoft.com/office/drawing/2014/main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1299" y="25180"/>
            <a:ext cx="849051" cy="617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4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696" r:id="rId8"/>
    <p:sldLayoutId id="2147483703" r:id="rId9"/>
    <p:sldLayoutId id="2147483708" r:id="rId10"/>
    <p:sldLayoutId id="2147483701" r:id="rId11"/>
    <p:sldLayoutId id="2147483742" r:id="rId12"/>
    <p:sldLayoutId id="2147483704" r:id="rId13"/>
    <p:sldLayoutId id="2147483707" r:id="rId14"/>
    <p:sldLayoutId id="2147483706" r:id="rId15"/>
    <p:sldLayoutId id="2147483716" r:id="rId16"/>
    <p:sldLayoutId id="2147483709" r:id="rId17"/>
    <p:sldLayoutId id="2147483710" r:id="rId18"/>
    <p:sldLayoutId id="2147483768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chart" Target="../charts/chart7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image" Target="../media/image1.emf"/><Relationship Id="rId2" Type="http://schemas.openxmlformats.org/officeDocument/2006/relationships/tags" Target="../tags/tag66.xml"/><Relationship Id="rId16" Type="http://schemas.openxmlformats.org/officeDocument/2006/relationships/oleObject" Target="../embeddings/oleObject29.bin"/><Relationship Id="rId1" Type="http://schemas.openxmlformats.org/officeDocument/2006/relationships/vmlDrawing" Target="../drawings/vmlDrawing29.v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74.xml"/><Relationship Id="rId19" Type="http://schemas.openxmlformats.org/officeDocument/2006/relationships/chart" Target="../charts/chart8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4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5.emf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package" Target="../embeddings/_____Microsoft_Excel1.xlsx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chart" Target="../charts/chart3.xml"/><Relationship Id="rId3" Type="http://schemas.openxmlformats.org/officeDocument/2006/relationships/tags" Target="../tags/tag42.xml"/><Relationship Id="rId21" Type="http://schemas.openxmlformats.org/officeDocument/2006/relationships/slideLayout" Target="../slideLayouts/slideLayout9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chart" Target="../charts/chart2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chart" Target="../charts/chart6.xml"/><Relationship Id="rId1" Type="http://schemas.openxmlformats.org/officeDocument/2006/relationships/vmlDrawing" Target="../drawings/vmlDrawing26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chart" Target="../charts/chart1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image" Target="../media/image1.emf"/><Relationship Id="rId28" Type="http://schemas.openxmlformats.org/officeDocument/2006/relationships/chart" Target="../charts/chart5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oleObject" Target="../embeddings/oleObject26.bin"/><Relationship Id="rId27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1.xml"/><Relationship Id="rId7" Type="http://schemas.openxmlformats.org/officeDocument/2006/relationships/oleObject" Target="../embeddings/oleObject27.bin"/><Relationship Id="rId2" Type="http://schemas.openxmlformats.org/officeDocument/2006/relationships/tags" Target="../tags/tag60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Июль 2025 г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sz="1800" dirty="0"/>
              <a:t>Отчет по итогам 1 полугодия </a:t>
            </a:r>
            <a:r>
              <a:rPr lang="ru-RU" sz="1800" dirty="0" smtClean="0"/>
              <a:t>2026 </a:t>
            </a:r>
            <a:r>
              <a:rPr lang="ru-RU" sz="1800" dirty="0"/>
              <a:t>года об исполнении утвержденной тарифной сметы и инвестиционной программы, о соблюдении показателей качества и надежности регулируемых услуг и достижении показателей эффективности деятельности </a:t>
            </a:r>
          </a:p>
          <a:p>
            <a:r>
              <a:rPr lang="ru-RU" sz="1800" dirty="0"/>
              <a:t>АО «ЕЭК» перед потребителями и иными заинтересованными лицами</a:t>
            </a: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122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6078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03" name="Слайд think-cell" r:id="rId16" imgW="594" imgH="595" progId="TCLayout.ActiveDocument.1">
                  <p:embed/>
                </p:oleObj>
              </mc:Choice>
              <mc:Fallback>
                <p:oleObj name="Слайд think-cell" r:id="rId16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0" dirty="0" smtClean="0">
                <a:solidFill>
                  <a:schemeClr val="accent1"/>
                </a:solidFill>
              </a:rPr>
              <a:t/>
            </a:r>
            <a:br>
              <a:rPr lang="en-US" b="0" dirty="0" smtClean="0">
                <a:solidFill>
                  <a:schemeClr val="accent1"/>
                </a:solidFill>
              </a:rPr>
            </a:br>
            <a:r>
              <a:rPr lang="ru-RU" b="0" dirty="0" smtClean="0">
                <a:solidFill>
                  <a:schemeClr val="accent1"/>
                </a:solidFill>
              </a:rPr>
              <a:t>ЕЭК: Перспективы деятельности </a:t>
            </a:r>
            <a:r>
              <a:rPr lang="ru-RU" b="0" dirty="0">
                <a:solidFill>
                  <a:schemeClr val="accent1"/>
                </a:solidFill>
              </a:rPr>
              <a:t>(планах развития), в том числе возможных изменениях </a:t>
            </a:r>
            <a:r>
              <a:rPr lang="ru-RU" b="0" dirty="0" smtClean="0">
                <a:solidFill>
                  <a:schemeClr val="accent1"/>
                </a:solidFill>
              </a:rPr>
              <a:t>тарифов                                               </a:t>
            </a:r>
            <a:r>
              <a:rPr lang="ru-RU" b="0" dirty="0">
                <a:solidFill>
                  <a:schemeClr val="accent1"/>
                </a:solidFill>
              </a:rPr>
              <a:t/>
            </a:r>
            <a:br>
              <a:rPr lang="ru-RU" b="0" dirty="0">
                <a:solidFill>
                  <a:schemeClr val="accent1"/>
                </a:solidFill>
              </a:rPr>
            </a:br>
            <a:r>
              <a:rPr lang="ru-RU" b="0" dirty="0" smtClean="0">
                <a:solidFill>
                  <a:schemeClr val="accent1"/>
                </a:solidFill>
              </a:rPr>
              <a:t> 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Abgerundetes Rechteck 109"/>
          <p:cNvSpPr/>
          <p:nvPr/>
        </p:nvSpPr>
        <p:spPr>
          <a:xfrm>
            <a:off x="317501" y="1644650"/>
            <a:ext cx="1571625" cy="1490663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Тариф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(утвержден уполномоченным органом)</a:t>
            </a:r>
            <a:endParaRPr lang="en-GB" sz="1100" i="1" dirty="0">
              <a:solidFill>
                <a:schemeClr val="dk1"/>
              </a:solidFill>
              <a:cs typeface="Arial" pitchFamily="34" charset="0"/>
            </a:endParaRPr>
          </a:p>
        </p:txBody>
      </p:sp>
      <p:sp>
        <p:nvSpPr>
          <p:cNvPr id="10" name="Abgerundetes Rechteck 109"/>
          <p:cNvSpPr>
            <a:spLocks/>
          </p:cNvSpPr>
          <p:nvPr/>
        </p:nvSpPr>
        <p:spPr>
          <a:xfrm>
            <a:off x="317501" y="3779838"/>
            <a:ext cx="1571625" cy="1327150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Инвестиции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(</a:t>
            </a: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утверждены 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уполномоченным органом)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endParaRPr lang="en-GB" sz="1600" b="1" dirty="0">
              <a:solidFill>
                <a:schemeClr val="dk1"/>
              </a:solidFill>
              <a:cs typeface="Arial" pitchFamily="34" charset="0"/>
            </a:endParaRPr>
          </a:p>
        </p:txBody>
      </p:sp>
      <p:cxnSp>
        <p:nvCxnSpPr>
          <p:cNvPr id="11" name="Straight Connector 418"/>
          <p:cNvCxnSpPr/>
          <p:nvPr/>
        </p:nvCxnSpPr>
        <p:spPr>
          <a:xfrm>
            <a:off x="236708" y="3394075"/>
            <a:ext cx="7884000" cy="0"/>
          </a:xfrm>
          <a:prstGeom prst="line">
            <a:avLst/>
          </a:prstGeom>
          <a:ln w="9525" cap="flat" cmpd="sng" algn="ctr">
            <a:solidFill>
              <a:srgbClr val="B2B2B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67021181"/>
              </p:ext>
            </p:extLst>
          </p:nvPr>
        </p:nvGraphicFramePr>
        <p:xfrm>
          <a:off x="2772384" y="1498900"/>
          <a:ext cx="2748148" cy="161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6" name="Прямоугольник 15"/>
          <p:cNvSpPr/>
          <p:nvPr>
            <p:custDataLst>
              <p:tags r:id="rId4"/>
            </p:custDataLst>
          </p:nvPr>
        </p:nvSpPr>
        <p:spPr bwMode="auto">
          <a:xfrm>
            <a:off x="3027363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5"/>
            </p:custDataLst>
          </p:nvPr>
        </p:nvSpPr>
        <p:spPr bwMode="auto">
          <a:xfrm>
            <a:off x="4037013" y="3030538"/>
            <a:ext cx="521738" cy="317499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6"/>
            </p:custDataLst>
          </p:nvPr>
        </p:nvSpPr>
        <p:spPr bwMode="auto">
          <a:xfrm>
            <a:off x="3027363" y="2997995"/>
            <a:ext cx="2284412" cy="247649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80967A1-0986-4695-8A24-7C08D1864157}" type="datetime'''''2''''''''''''''''''''''''''0''''2''''6''''''''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7"/>
            </p:custDataLst>
          </p:nvPr>
        </p:nvSpPr>
        <p:spPr bwMode="auto">
          <a:xfrm>
            <a:off x="6272213" y="1693863"/>
            <a:ext cx="160338" cy="120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8"/>
            </p:custDataLst>
          </p:nvPr>
        </p:nvSpPr>
        <p:spPr bwMode="auto">
          <a:xfrm>
            <a:off x="6483350" y="1690688"/>
            <a:ext cx="5588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1254D85-96A7-4EAD-B4F7-B08DA059563A}" type="datetime'''т''''''''е''''нг''е''''''''''''/''''''Г''к''а''л'''''''''''">
              <a:rPr lang="ru-RU" altLang="en-US" sz="900" smtClean="0">
                <a:solidFill>
                  <a:schemeClr val="tx1"/>
                </a:solidFill>
              </a:rPr>
              <a:pPr/>
              <a:t>тенге/Гкал</a:t>
            </a:fld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42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73080642"/>
              </p:ext>
            </p:extLst>
          </p:nvPr>
        </p:nvGraphicFramePr>
        <p:xfrm>
          <a:off x="2427377" y="3515431"/>
          <a:ext cx="3190875" cy="1714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3" name="Прямоугольник 22"/>
          <p:cNvSpPr/>
          <p:nvPr>
            <p:custDataLst>
              <p:tags r:id="rId10"/>
            </p:custDataLst>
          </p:nvPr>
        </p:nvSpPr>
        <p:spPr bwMode="auto">
          <a:xfrm>
            <a:off x="3027363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11"/>
            </p:custDataLst>
          </p:nvPr>
        </p:nvSpPr>
        <p:spPr bwMode="auto">
          <a:xfrm>
            <a:off x="4037013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altLang="en-US" sz="900" dirty="0" smtClean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2"/>
            </p:custDataLst>
          </p:nvPr>
        </p:nvSpPr>
        <p:spPr bwMode="auto">
          <a:xfrm>
            <a:off x="2859932" y="5145088"/>
            <a:ext cx="245184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7787A8-3D47-46E9-B338-A7C141FCAFAF}" type="datetime'''''''''''''''''''''''2''''''''''''''0''''''''2''''''6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13"/>
            </p:custDataLst>
          </p:nvPr>
        </p:nvSpPr>
        <p:spPr bwMode="auto">
          <a:xfrm>
            <a:off x="6273800" y="3829050"/>
            <a:ext cx="160338" cy="120650"/>
          </a:xfrm>
          <a:prstGeom prst="rect">
            <a:avLst/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4"/>
            </p:custDataLst>
          </p:nvPr>
        </p:nvSpPr>
        <p:spPr bwMode="auto">
          <a:xfrm>
            <a:off x="6484938" y="3825875"/>
            <a:ext cx="557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B6B48D2-E81D-46B5-A2D8-2CBD56CC3E33}" type="datetime'''м''''л''''''''''н.'''' ''''''''''''т''е''''''н''''ге'''">
              <a:rPr lang="ru-RU" altLang="en-US" sz="900" smtClean="0">
                <a:solidFill>
                  <a:schemeClr val="tx1"/>
                </a:solidFill>
              </a:rPr>
              <a:pPr/>
              <a:t>млн. тенге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8" name="Freeform 140"/>
          <p:cNvSpPr/>
          <p:nvPr/>
        </p:nvSpPr>
        <p:spPr>
          <a:xfrm>
            <a:off x="7778333" y="1220788"/>
            <a:ext cx="3911358" cy="4600575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600" dirty="0">
                <a:solidFill>
                  <a:schemeClr val="accent1"/>
                </a:solidFill>
              </a:rPr>
              <a:t>Выполнение </a:t>
            </a:r>
            <a:r>
              <a:rPr lang="ru-RU" sz="1600" dirty="0" smtClean="0">
                <a:solidFill>
                  <a:schemeClr val="accent1"/>
                </a:solidFill>
              </a:rPr>
              <a:t>мероприятий позволит</a:t>
            </a:r>
            <a:r>
              <a:rPr lang="ru-RU" sz="1600" dirty="0">
                <a:solidFill>
                  <a:schemeClr val="accent1"/>
                </a:solidFill>
              </a:rPr>
              <a:t>:</a:t>
            </a:r>
          </a:p>
        </p:txBody>
      </p:sp>
      <p:sp>
        <p:nvSpPr>
          <p:cNvPr id="29" name="Rectangle 5"/>
          <p:cNvSpPr>
            <a:spLocks noChangeArrowheads="1"/>
          </p:cNvSpPr>
          <p:nvPr/>
        </p:nvSpPr>
        <p:spPr bwMode="auto">
          <a:xfrm>
            <a:off x="8065335" y="1846263"/>
            <a:ext cx="3736033" cy="3783013"/>
          </a:xfrm>
          <a:prstGeom prst="rect">
            <a:avLst/>
          </a:prstGeom>
          <a:solidFill>
            <a:schemeClr val="l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lg"/>
          </a:ln>
        </p:spPr>
        <p:txBody>
          <a:bodyPr lIns="108000" tIns="180000" rIns="72000" bIns="72000" anchor="ctr" anchorCtr="0"/>
          <a:lstStyle/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обеспечить поддержание основного оборудования в технически исправном состоянии, при котором возможно обеспечить бесперебойное оказание услуг по 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роизводству тепловой энергии</a:t>
            </a:r>
            <a:r>
              <a:rPr lang="ru-RU" sz="1600" dirty="0" smtClean="0"/>
              <a:t>;</a:t>
            </a:r>
            <a:endParaRPr lang="ru-RU" sz="1600" dirty="0"/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иметь постоянную готовность к ликвидации чрезвычайных или непредвиденных ситуаций</a:t>
            </a:r>
            <a:r>
              <a:rPr lang="ru-RU" sz="1600" dirty="0" smtClean="0"/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 повысить эффективность </a:t>
            </a:r>
            <a:r>
              <a:rPr lang="ru-RU" sz="1600" dirty="0"/>
              <a:t>работы </a:t>
            </a:r>
            <a:r>
              <a:rPr lang="ru-RU" sz="1600" dirty="0" smtClean="0"/>
              <a:t>оборудования и качество </a:t>
            </a:r>
            <a:r>
              <a:rPr lang="ru-RU" sz="1600" dirty="0"/>
              <a:t>предоставляемых </a:t>
            </a:r>
            <a:r>
              <a:rPr lang="ru-RU" sz="1600" dirty="0" smtClean="0"/>
              <a:t>регулируемых услуг</a:t>
            </a:r>
            <a:endParaRPr lang="ru-RU" sz="1600" dirty="0"/>
          </a:p>
        </p:txBody>
      </p:sp>
      <p:grpSp>
        <p:nvGrpSpPr>
          <p:cNvPr id="53" name="Group 37"/>
          <p:cNvGrpSpPr/>
          <p:nvPr/>
        </p:nvGrpSpPr>
        <p:grpSpPr>
          <a:xfrm>
            <a:off x="7494076" y="1827213"/>
            <a:ext cx="172580" cy="3051175"/>
            <a:chOff x="10288826" y="2803525"/>
            <a:chExt cx="172580" cy="3051175"/>
          </a:xfrm>
        </p:grpSpPr>
        <p:grpSp>
          <p:nvGrpSpPr>
            <p:cNvPr id="54" name="Group 20"/>
            <p:cNvGrpSpPr/>
            <p:nvPr/>
          </p:nvGrpSpPr>
          <p:grpSpPr>
            <a:xfrm>
              <a:off x="10288826" y="4094462"/>
              <a:ext cx="172580" cy="469699"/>
              <a:chOff x="3531025" y="4266495"/>
              <a:chExt cx="392739" cy="823525"/>
            </a:xfrm>
          </p:grpSpPr>
          <p:sp>
            <p:nvSpPr>
              <p:cNvPr id="57" name="Freeform 21"/>
              <p:cNvSpPr/>
              <p:nvPr/>
            </p:nvSpPr>
            <p:spPr>
              <a:xfrm>
                <a:off x="3635800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8" name="Freeform 23"/>
              <p:cNvSpPr/>
              <p:nvPr/>
            </p:nvSpPr>
            <p:spPr>
              <a:xfrm>
                <a:off x="3531025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55" name="Прямая соединительная линия 5"/>
            <p:cNvCxnSpPr/>
            <p:nvPr/>
          </p:nvCxnSpPr>
          <p:spPr>
            <a:xfrm>
              <a:off x="10311014" y="2803525"/>
              <a:ext cx="0" cy="1135047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Прямая соединительная линия 6"/>
            <p:cNvCxnSpPr/>
            <p:nvPr/>
          </p:nvCxnSpPr>
          <p:spPr>
            <a:xfrm>
              <a:off x="10311014" y="4720051"/>
              <a:ext cx="0" cy="1134649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3" name="Прямоугольник 2"/>
          <p:cNvSpPr/>
          <p:nvPr/>
        </p:nvSpPr>
        <p:spPr>
          <a:xfrm>
            <a:off x="3027363" y="2997995"/>
            <a:ext cx="8977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362618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2275" cy="704850"/>
          </a:xfrm>
        </p:spPr>
        <p:txBody>
          <a:bodyPr/>
          <a:lstStyle/>
          <a:p>
            <a:r>
              <a:rPr lang="ru-RU" dirty="0"/>
              <a:t>Информация об оказываемой услуге – подача воды по распределительным сетям (малая мощность)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17499" y="704850"/>
            <a:ext cx="11633074" cy="6026151"/>
          </a:xfrm>
        </p:spPr>
        <p:txBody>
          <a:bodyPr/>
          <a:lstStyle/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1. Информация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б исполнении утвержденной инвестиционной программы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kern="0" dirty="0">
                <a:cs typeface="Arial" panose="020B0604020202020204" pitchFamily="34" charset="0"/>
              </a:rPr>
              <a:t>Инвестиционная программа уполномоченным органом </a:t>
            </a:r>
            <a:r>
              <a:rPr lang="ru-RU" sz="1400" b="1" kern="0" dirty="0">
                <a:cs typeface="Arial" panose="020B0604020202020204" pitchFamily="34" charset="0"/>
              </a:rPr>
              <a:t>не утверждалась.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dirty="0" smtClean="0"/>
              <a:t>За 1 полугодие 2026 года </a:t>
            </a:r>
            <a:r>
              <a:rPr lang="ru-RU" sz="1400" dirty="0"/>
              <a:t>фактическая сумма амортизационных отчислений по основным средствам, задействованным при оказании регулируемой услуги, составила </a:t>
            </a:r>
            <a:r>
              <a:rPr lang="ru-RU" sz="1400" b="1" dirty="0" smtClean="0">
                <a:solidFill>
                  <a:schemeClr val="accent1"/>
                </a:solidFill>
              </a:rPr>
              <a:t>5 075,93 </a:t>
            </a:r>
            <a:r>
              <a:rPr lang="ru-RU" sz="1400" dirty="0" smtClean="0"/>
              <a:t>тыс</a:t>
            </a:r>
            <a:r>
              <a:rPr lang="ru-RU" sz="1400" dirty="0"/>
              <a:t>. тенге. В утвержденной  тарифной смете предусмотрена сумма амортизационных отчислений в размере </a:t>
            </a:r>
            <a:r>
              <a:rPr lang="ru-RU" sz="1400" b="1" dirty="0" smtClean="0">
                <a:solidFill>
                  <a:schemeClr val="accent1"/>
                </a:solidFill>
              </a:rPr>
              <a:t>5 </a:t>
            </a:r>
            <a:r>
              <a:rPr lang="ru-RU" sz="1400" b="1" dirty="0">
                <a:solidFill>
                  <a:schemeClr val="accent1"/>
                </a:solidFill>
              </a:rPr>
              <a:t>955 </a:t>
            </a:r>
            <a:r>
              <a:rPr lang="ru-RU" sz="1400" dirty="0"/>
              <a:t>тыс. тенге. 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dirty="0"/>
              <a:t>Сумма амортизационных отчислений, предусмотренная в утвержденной тарифной смете, направлена в </a:t>
            </a:r>
            <a:r>
              <a:rPr lang="ru-RU" sz="1400" dirty="0" smtClean="0"/>
              <a:t>2026 </a:t>
            </a:r>
            <a:r>
              <a:rPr lang="ru-RU" sz="1400" dirty="0"/>
              <a:t>году на выполнение следующих мероприятий по капитальному ремонту на общую сумму </a:t>
            </a:r>
            <a:r>
              <a:rPr lang="ru-RU" sz="1400" b="1" dirty="0" smtClean="0">
                <a:solidFill>
                  <a:schemeClr val="accent1"/>
                </a:solidFill>
              </a:rPr>
              <a:t>10 258,96 </a:t>
            </a:r>
            <a:r>
              <a:rPr lang="ru-RU" sz="1400" dirty="0" smtClean="0"/>
              <a:t>тыс</a:t>
            </a:r>
            <a:r>
              <a:rPr lang="ru-RU" sz="1400" dirty="0"/>
              <a:t>. тенге:</a:t>
            </a:r>
          </a:p>
          <a:p>
            <a:r>
              <a:rPr lang="ru-RU" sz="1400" dirty="0"/>
              <a:t>агрегата </a:t>
            </a:r>
            <a:r>
              <a:rPr lang="ru-RU" sz="1400" dirty="0" err="1"/>
              <a:t>электронасосного</a:t>
            </a:r>
            <a:r>
              <a:rPr lang="ru-RU" sz="1400" dirty="0"/>
              <a:t>, насоса 2-го подъема </a:t>
            </a:r>
            <a:r>
              <a:rPr lang="ru-RU" sz="1400" dirty="0" err="1"/>
              <a:t>подъема</a:t>
            </a:r>
            <a:r>
              <a:rPr lang="ru-RU" sz="1400" dirty="0"/>
              <a:t> №</a:t>
            </a:r>
            <a:r>
              <a:rPr lang="ru-RU" sz="1400" dirty="0" smtClean="0"/>
              <a:t>2, механических  фильтров </a:t>
            </a:r>
            <a:r>
              <a:rPr lang="ru-RU" sz="1400" dirty="0"/>
              <a:t>№</a:t>
            </a:r>
            <a:r>
              <a:rPr lang="ru-RU" sz="1400" dirty="0" smtClean="0"/>
              <a:t>1, 2, 3, 4.</a:t>
            </a:r>
          </a:p>
          <a:p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Для </a:t>
            </a:r>
            <a:r>
              <a:rPr lang="ru-RU" sz="1400" dirty="0">
                <a:ea typeface="Calibri" panose="020F0502020204030204" pitchFamily="34" charset="0"/>
                <a:cs typeface="Times New Roman" panose="02020603050405020304" pitchFamily="18" charset="0"/>
              </a:rPr>
              <a:t>АО «ЕЭК» показатели качества и надежности регулируемых услуг и показатели эффективности деятельности </a:t>
            </a:r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не разрабатывались и не  утверждались.</a:t>
            </a:r>
          </a:p>
          <a:p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2.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Информация о постатейном исполнении тарифной сметы за 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1 полугодие 2026 года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Arial (Основной текст)"/>
              <a:ea typeface="Times New Roman"/>
            </a:endParaRPr>
          </a:p>
          <a:p>
            <a:r>
              <a:rPr lang="ru-RU" sz="1400" dirty="0"/>
              <a:t>Затраты АО «ЕЭК» за 1 полугодие </a:t>
            </a:r>
            <a:r>
              <a:rPr lang="ru-RU" sz="1400" dirty="0" smtClean="0"/>
              <a:t>2026 </a:t>
            </a:r>
            <a:r>
              <a:rPr lang="ru-RU" sz="1400" dirty="0"/>
              <a:t>года на оказание регулируемой услуги </a:t>
            </a:r>
            <a:r>
              <a:rPr lang="ru-RU" sz="1400" dirty="0" smtClean="0"/>
              <a:t>составили </a:t>
            </a:r>
            <a:r>
              <a:rPr lang="ru-RU" sz="1400" b="1" dirty="0">
                <a:solidFill>
                  <a:schemeClr val="accent1"/>
                </a:solidFill>
              </a:rPr>
              <a:t>28</a:t>
            </a:r>
            <a:r>
              <a:rPr lang="en-US" sz="1400" b="1" dirty="0">
                <a:solidFill>
                  <a:schemeClr val="accent1"/>
                </a:solidFill>
              </a:rPr>
              <a:t> </a:t>
            </a:r>
            <a:r>
              <a:rPr lang="ru-RU" sz="1400" b="1" dirty="0">
                <a:solidFill>
                  <a:schemeClr val="accent1"/>
                </a:solidFill>
              </a:rPr>
              <a:t>665,64 </a:t>
            </a:r>
            <a:r>
              <a:rPr lang="ru-RU" sz="1400" dirty="0" smtClean="0"/>
              <a:t>тыс</a:t>
            </a:r>
            <a:r>
              <a:rPr lang="ru-RU" sz="1400" dirty="0"/>
              <a:t>. </a:t>
            </a:r>
            <a:r>
              <a:rPr lang="ru-RU" sz="1400" dirty="0" smtClean="0"/>
              <a:t>тенге,  </a:t>
            </a:r>
            <a:r>
              <a:rPr lang="ru-RU" sz="1400" dirty="0"/>
              <a:t>превышение против утвержденной тарифной сметы на </a:t>
            </a:r>
            <a:r>
              <a:rPr lang="ru-RU" sz="1400" b="1" dirty="0" smtClean="0">
                <a:solidFill>
                  <a:schemeClr val="accent1"/>
                </a:solidFill>
              </a:rPr>
              <a:t>139%</a:t>
            </a:r>
            <a:r>
              <a:rPr lang="ru-RU" sz="1400" dirty="0" smtClean="0"/>
              <a:t>.</a:t>
            </a:r>
            <a:endParaRPr lang="ru-RU" sz="1400" dirty="0"/>
          </a:p>
          <a:p>
            <a:r>
              <a:rPr lang="ru-RU" sz="1400" dirty="0"/>
              <a:t>Перерасход затрат в целом по тарифной смете обусловлен ростом заработной платы, наличием затрат, которые не были предусмотрены в утверждённой тарифной смете, и инфляционным процессом. 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latin typeface="Arial (Основной текст)"/>
              </a:rPr>
              <a:t>3</a:t>
            </a:r>
            <a:r>
              <a:rPr lang="ru-RU" sz="1400" b="1" dirty="0">
                <a:latin typeface="Arial (Основной текст)"/>
              </a:rPr>
              <a:t>. Информация об объемах предоставленных услуг </a:t>
            </a:r>
            <a:endParaRPr lang="en-US" sz="1400" b="1" dirty="0">
              <a:latin typeface="Arial (Основной текст)"/>
            </a:endParaRPr>
          </a:p>
          <a:p>
            <a:r>
              <a:rPr lang="ru-RU" sz="1400" dirty="0"/>
              <a:t>В утвержденной тарифной смете объем оказываемых услуг составляет </a:t>
            </a:r>
            <a:r>
              <a:rPr lang="ru-RU" sz="1400" b="1" dirty="0" smtClean="0">
                <a:solidFill>
                  <a:schemeClr val="accent1"/>
                </a:solidFill>
              </a:rPr>
              <a:t>407,3</a:t>
            </a:r>
            <a:r>
              <a:rPr lang="ru-RU" sz="1400" dirty="0" smtClean="0"/>
              <a:t> </a:t>
            </a:r>
            <a:r>
              <a:rPr lang="ru-RU" sz="1400" dirty="0"/>
              <a:t>тыс. м3. </a:t>
            </a:r>
          </a:p>
          <a:p>
            <a:r>
              <a:rPr lang="ru-RU" sz="1400" dirty="0"/>
              <a:t>Фактический объем оказываемых услуг за 1 полугодие </a:t>
            </a:r>
            <a:r>
              <a:rPr lang="ru-RU" sz="1400" dirty="0" smtClean="0"/>
              <a:t>2026 </a:t>
            </a:r>
            <a:r>
              <a:rPr lang="ru-RU" sz="1400" dirty="0"/>
              <a:t>года составил </a:t>
            </a:r>
            <a:r>
              <a:rPr lang="ru-RU" sz="1400" b="1" dirty="0" smtClean="0">
                <a:solidFill>
                  <a:schemeClr val="accent1"/>
                </a:solidFill>
              </a:rPr>
              <a:t>179,48</a:t>
            </a:r>
            <a:r>
              <a:rPr lang="ru-RU" sz="1400" dirty="0" smtClean="0"/>
              <a:t> </a:t>
            </a:r>
            <a:r>
              <a:rPr lang="ru-RU" sz="1400" dirty="0"/>
              <a:t>тыс. м3.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latin typeface="Arial (Основной текст)"/>
              </a:rPr>
              <a:t>4</a:t>
            </a:r>
            <a:r>
              <a:rPr lang="ru-RU" sz="1400" b="1" dirty="0">
                <a:latin typeface="Arial (Основной текст)"/>
              </a:rPr>
              <a:t>. Информация об основных финансово-экономических показателях </a:t>
            </a:r>
          </a:p>
          <a:p>
            <a:r>
              <a:rPr lang="ru-RU" sz="1400" dirty="0">
                <a:latin typeface="Arial (Основной текст)"/>
              </a:rPr>
              <a:t>Доход – </a:t>
            </a:r>
            <a:r>
              <a:rPr lang="ru-RU" sz="1400" dirty="0" smtClean="0"/>
              <a:t> </a:t>
            </a:r>
            <a:r>
              <a:rPr lang="ru-RU" sz="1400" b="1" dirty="0">
                <a:solidFill>
                  <a:schemeClr val="accent1"/>
                </a:solidFill>
              </a:rPr>
              <a:t>9 094,30 </a:t>
            </a:r>
            <a:r>
              <a:rPr lang="ru-RU" sz="1400" dirty="0" smtClean="0">
                <a:latin typeface="Arial (Основной текст)"/>
              </a:rPr>
              <a:t>тыс</a:t>
            </a:r>
            <a:r>
              <a:rPr lang="ru-RU" sz="1400" dirty="0">
                <a:latin typeface="Arial (Основной текст)"/>
              </a:rPr>
              <a:t>. тенге, </a:t>
            </a:r>
          </a:p>
          <a:p>
            <a:r>
              <a:rPr lang="ru-RU" sz="1400" dirty="0">
                <a:latin typeface="Arial (Основной текст)"/>
              </a:rPr>
              <a:t>Затраты – </a:t>
            </a:r>
            <a:r>
              <a:rPr lang="ru-RU" sz="1400" b="1" dirty="0">
                <a:solidFill>
                  <a:schemeClr val="accent1"/>
                </a:solidFill>
              </a:rPr>
              <a:t>28 665,64 </a:t>
            </a:r>
            <a:r>
              <a:rPr lang="ru-RU" sz="1400" dirty="0" smtClean="0">
                <a:latin typeface="Arial (Основной текст)"/>
              </a:rPr>
              <a:t>тыс</a:t>
            </a:r>
            <a:r>
              <a:rPr lang="ru-RU" sz="1400" dirty="0">
                <a:latin typeface="Arial (Основной текст)"/>
              </a:rPr>
              <a:t>. тенге. </a:t>
            </a:r>
          </a:p>
          <a:p>
            <a:r>
              <a:rPr lang="ru-RU" sz="1400" dirty="0">
                <a:latin typeface="Arial (Основной текст)"/>
              </a:rPr>
              <a:t>Убыток – </a:t>
            </a:r>
            <a:r>
              <a:rPr lang="ru-RU" sz="1400" b="1" dirty="0">
                <a:solidFill>
                  <a:schemeClr val="accent1"/>
                </a:solidFill>
              </a:rPr>
              <a:t>19 571,34 </a:t>
            </a:r>
            <a:r>
              <a:rPr lang="ru-RU" sz="1400" dirty="0" smtClean="0">
                <a:latin typeface="Arial (Основной текст)"/>
              </a:rPr>
              <a:t>тыс</a:t>
            </a:r>
            <a:r>
              <a:rPr lang="ru-RU" sz="1400" dirty="0">
                <a:latin typeface="Arial (Основной текст)"/>
              </a:rPr>
              <a:t>. тенге </a:t>
            </a:r>
          </a:p>
          <a:p>
            <a:endParaRPr lang="ru-RU" sz="1400" dirty="0" smtClean="0">
              <a:latin typeface="Arial (Основной текст)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о стороны потребителей на качество предоставляемых услуг за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 полугодие 2026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года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сутствуют</a:t>
            </a:r>
          </a:p>
        </p:txBody>
      </p:sp>
    </p:spTree>
    <p:extLst>
      <p:ext uri="{BB962C8B-B14F-4D97-AF65-F5344CB8AC3E}">
        <p14:creationId xmlns:p14="http://schemas.microsoft.com/office/powerpoint/2010/main" val="30334897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6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3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body" sz="quarter" idx="11"/>
          </p:nvPr>
        </p:nvSpPr>
        <p:spPr/>
        <p:txBody>
          <a:bodyPr vert="horz"/>
          <a:lstStyle/>
          <a:p>
            <a:pPr algn="ctr"/>
            <a:r>
              <a:rPr lang="ru-RU" dirty="0">
                <a:solidFill>
                  <a:schemeClr val="accent1"/>
                </a:solidFill>
              </a:rPr>
              <a:t>Спасибо 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2429959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204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8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 </a:t>
            </a:r>
            <a:r>
              <a:rPr lang="ru-RU" dirty="0" smtClean="0"/>
              <a:t>Общая информация о субъекте естественной монополии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7499" y="4041006"/>
            <a:ext cx="549844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u="sng" dirty="0" smtClean="0"/>
              <a:t>Тарифы на регулируемые услуги на 2026 год: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Производство тепловой энергии - 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 1 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804,81 </a:t>
            </a:r>
            <a:r>
              <a:rPr lang="ru-RU" sz="1600" dirty="0" smtClean="0"/>
              <a:t>тенге/Гкал</a:t>
            </a:r>
            <a:endParaRPr lang="ru-RU" sz="1600" dirty="0" smtClean="0"/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Подача воды по распределительным сетям – </a:t>
            </a:r>
            <a:r>
              <a:rPr lang="ru-RU" sz="1600" dirty="0" smtClean="0">
                <a:solidFill>
                  <a:schemeClr val="accent1"/>
                </a:solidFill>
              </a:rPr>
              <a:t>50,67 </a:t>
            </a:r>
            <a:r>
              <a:rPr lang="ru-RU" sz="1600" dirty="0" smtClean="0"/>
              <a:t>тенге/м3 </a:t>
            </a:r>
            <a:endParaRPr lang="ru-RU" sz="16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06367" y="6193789"/>
            <a:ext cx="110191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prstClr val="black"/>
                </a:solidFill>
              </a:rPr>
              <a:t>Для АО «ЕЭК» показатели качества и надежности регулируемых услуг и показатели эффективности деятельности </a:t>
            </a:r>
            <a:r>
              <a:rPr lang="ru-RU" sz="1600" b="1" dirty="0">
                <a:solidFill>
                  <a:prstClr val="black"/>
                </a:solidFill>
              </a:rPr>
              <a:t>не разрабатывались и не  утверждались. </a:t>
            </a:r>
            <a:endParaRPr lang="ru-RU" sz="1600" b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95874" y="1616991"/>
            <a:ext cx="2934201" cy="310122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09844" y="3337014"/>
            <a:ext cx="3114675" cy="279256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17499" y="826418"/>
            <a:ext cx="11184690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/>
              <a:t>АО «Евроазиатская энергетическая корпорация» (ЕЭК</a:t>
            </a:r>
            <a:r>
              <a:rPr lang="ru-RU" sz="1600" dirty="0" smtClean="0"/>
              <a:t>) - </a:t>
            </a:r>
            <a:r>
              <a:rPr lang="ru-RU" sz="1600" dirty="0"/>
              <a:t>о</a:t>
            </a:r>
            <a:r>
              <a:rPr lang="ru-RU" sz="1600" dirty="0" smtClean="0"/>
              <a:t>дин </a:t>
            </a:r>
            <a:r>
              <a:rPr lang="ru-RU" sz="1600" dirty="0"/>
              <a:t>из крупнейших поставщиков электроэнергии и угля в Казахстане, основанный в 1996 году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17499" y="1351855"/>
            <a:ext cx="7661844" cy="198515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/>
              <a:t>АО «ЕЭК» является субъектом естественных монополий по следующим видам деятельности: </a:t>
            </a:r>
            <a:endParaRPr lang="ru-RU" sz="1600" dirty="0" smtClean="0"/>
          </a:p>
          <a:p>
            <a:pPr indent="625475" algn="just">
              <a:spcBef>
                <a:spcPts val="600"/>
              </a:spcBef>
              <a:spcAft>
                <a:spcPts val="600"/>
              </a:spcAft>
            </a:pPr>
            <a:r>
              <a:rPr lang="ru-RU" sz="1600" b="1" dirty="0" smtClean="0"/>
              <a:t>производство </a:t>
            </a:r>
            <a:r>
              <a:rPr lang="ru-RU" sz="1600" b="1" dirty="0"/>
              <a:t>тепловой энергии </a:t>
            </a:r>
            <a:endParaRPr lang="en-US" sz="1600" b="1" dirty="0"/>
          </a:p>
          <a:p>
            <a:pPr indent="625475" algn="just">
              <a:spcBef>
                <a:spcPts val="600"/>
              </a:spcBef>
              <a:spcAft>
                <a:spcPts val="600"/>
              </a:spcAft>
            </a:pPr>
            <a:r>
              <a:rPr lang="ru-RU" sz="1600" b="1" dirty="0"/>
              <a:t>подача воды по распределительным сетям. </a:t>
            </a:r>
            <a:r>
              <a:rPr lang="ru-RU" sz="1600" b="1" dirty="0" smtClean="0"/>
              <a:t> </a:t>
            </a:r>
            <a:r>
              <a:rPr lang="ru-RU" sz="1200" i="1" dirty="0" smtClean="0"/>
              <a:t>Начиная </a:t>
            </a:r>
            <a:r>
              <a:rPr lang="ru-RU" sz="1200" i="1" dirty="0"/>
              <a:t>с 2017 года по виду деятельности «подача воды по распределительным сетям» предприятие является субъектом естественных монополий малой мощности.</a:t>
            </a:r>
          </a:p>
          <a:p>
            <a:endParaRPr lang="ru-RU" sz="1600" dirty="0"/>
          </a:p>
        </p:txBody>
      </p:sp>
      <p:grpSp>
        <p:nvGrpSpPr>
          <p:cNvPr id="22" name="Group 490"/>
          <p:cNvGrpSpPr/>
          <p:nvPr/>
        </p:nvGrpSpPr>
        <p:grpSpPr>
          <a:xfrm>
            <a:off x="519060" y="2297787"/>
            <a:ext cx="369888" cy="368300"/>
            <a:chOff x="-3314701" y="4416426"/>
            <a:chExt cx="369888" cy="368300"/>
          </a:xfrm>
        </p:grpSpPr>
        <p:sp>
          <p:nvSpPr>
            <p:cNvPr id="23" name="Freeform 63"/>
            <p:cNvSpPr>
              <a:spLocks/>
            </p:cNvSpPr>
            <p:nvPr/>
          </p:nvSpPr>
          <p:spPr bwMode="auto">
            <a:xfrm>
              <a:off x="-3314701" y="4416426"/>
              <a:ext cx="369888" cy="368300"/>
            </a:xfrm>
            <a:custGeom>
              <a:avLst/>
              <a:gdLst>
                <a:gd name="T0" fmla="*/ 261 w 283"/>
                <a:gd name="T1" fmla="*/ 109 h 283"/>
                <a:gd name="T2" fmla="*/ 253 w 283"/>
                <a:gd name="T3" fmla="*/ 98 h 283"/>
                <a:gd name="T4" fmla="*/ 254 w 283"/>
                <a:gd name="T5" fmla="*/ 120 h 283"/>
                <a:gd name="T6" fmla="*/ 274 w 283"/>
                <a:gd name="T7" fmla="*/ 159 h 283"/>
                <a:gd name="T8" fmla="*/ 252 w 283"/>
                <a:gd name="T9" fmla="*/ 171 h 283"/>
                <a:gd name="T10" fmla="*/ 265 w 283"/>
                <a:gd name="T11" fmla="*/ 192 h 283"/>
                <a:gd name="T12" fmla="*/ 229 w 283"/>
                <a:gd name="T13" fmla="*/ 216 h 283"/>
                <a:gd name="T14" fmla="*/ 215 w 283"/>
                <a:gd name="T15" fmla="*/ 234 h 283"/>
                <a:gd name="T16" fmla="*/ 185 w 283"/>
                <a:gd name="T17" fmla="*/ 252 h 283"/>
                <a:gd name="T18" fmla="*/ 159 w 283"/>
                <a:gd name="T19" fmla="*/ 258 h 283"/>
                <a:gd name="T20" fmla="*/ 124 w 283"/>
                <a:gd name="T21" fmla="*/ 258 h 283"/>
                <a:gd name="T22" fmla="*/ 98 w 283"/>
                <a:gd name="T23" fmla="*/ 252 h 283"/>
                <a:gd name="T24" fmla="*/ 67 w 283"/>
                <a:gd name="T25" fmla="*/ 234 h 283"/>
                <a:gd name="T26" fmla="*/ 54 w 283"/>
                <a:gd name="T27" fmla="*/ 216 h 283"/>
                <a:gd name="T28" fmla="*/ 18 w 283"/>
                <a:gd name="T29" fmla="*/ 192 h 283"/>
                <a:gd name="T30" fmla="*/ 31 w 283"/>
                <a:gd name="T31" fmla="*/ 171 h 283"/>
                <a:gd name="T32" fmla="*/ 9 w 283"/>
                <a:gd name="T33" fmla="*/ 159 h 283"/>
                <a:gd name="T34" fmla="*/ 29 w 283"/>
                <a:gd name="T35" fmla="*/ 120 h 283"/>
                <a:gd name="T36" fmla="*/ 31 w 283"/>
                <a:gd name="T37" fmla="*/ 98 h 283"/>
                <a:gd name="T38" fmla="*/ 48 w 283"/>
                <a:gd name="T39" fmla="*/ 67 h 283"/>
                <a:gd name="T40" fmla="*/ 66 w 283"/>
                <a:gd name="T41" fmla="*/ 54 h 283"/>
                <a:gd name="T42" fmla="*/ 90 w 283"/>
                <a:gd name="T43" fmla="*/ 18 h 283"/>
                <a:gd name="T44" fmla="*/ 120 w 283"/>
                <a:gd name="T45" fmla="*/ 28 h 283"/>
                <a:gd name="T46" fmla="*/ 159 w 283"/>
                <a:gd name="T47" fmla="*/ 9 h 283"/>
                <a:gd name="T48" fmla="*/ 180 w 283"/>
                <a:gd name="T49" fmla="*/ 33 h 283"/>
                <a:gd name="T50" fmla="*/ 223 w 283"/>
                <a:gd name="T51" fmla="*/ 35 h 283"/>
                <a:gd name="T52" fmla="*/ 223 w 283"/>
                <a:gd name="T53" fmla="*/ 60 h 283"/>
                <a:gd name="T54" fmla="*/ 247 w 283"/>
                <a:gd name="T55" fmla="*/ 60 h 283"/>
                <a:gd name="T56" fmla="*/ 275 w 283"/>
                <a:gd name="T57" fmla="*/ 89 h 283"/>
                <a:gd name="T58" fmla="*/ 233 w 283"/>
                <a:gd name="T59" fmla="*/ 58 h 283"/>
                <a:gd name="T60" fmla="*/ 233 w 283"/>
                <a:gd name="T61" fmla="*/ 36 h 283"/>
                <a:gd name="T62" fmla="*/ 193 w 283"/>
                <a:gd name="T63" fmla="*/ 7 h 283"/>
                <a:gd name="T64" fmla="*/ 168 w 283"/>
                <a:gd name="T65" fmla="*/ 20 h 283"/>
                <a:gd name="T66" fmla="*/ 119 w 283"/>
                <a:gd name="T67" fmla="*/ 0 h 283"/>
                <a:gd name="T68" fmla="*/ 104 w 283"/>
                <a:gd name="T69" fmla="*/ 23 h 283"/>
                <a:gd name="T70" fmla="*/ 51 w 283"/>
                <a:gd name="T71" fmla="*/ 29 h 283"/>
                <a:gd name="T72" fmla="*/ 53 w 283"/>
                <a:gd name="T73" fmla="*/ 54 h 283"/>
                <a:gd name="T74" fmla="*/ 30 w 283"/>
                <a:gd name="T75" fmla="*/ 51 h 283"/>
                <a:gd name="T76" fmla="*/ 9 w 283"/>
                <a:gd name="T77" fmla="*/ 96 h 283"/>
                <a:gd name="T78" fmla="*/ 22 w 283"/>
                <a:gd name="T79" fmla="*/ 109 h 283"/>
                <a:gd name="T80" fmla="*/ 0 w 283"/>
                <a:gd name="T81" fmla="*/ 119 h 283"/>
                <a:gd name="T82" fmla="*/ 20 w 283"/>
                <a:gd name="T83" fmla="*/ 168 h 283"/>
                <a:gd name="T84" fmla="*/ 9 w 283"/>
                <a:gd name="T85" fmla="*/ 187 h 283"/>
                <a:gd name="T86" fmla="*/ 30 w 283"/>
                <a:gd name="T87" fmla="*/ 231 h 283"/>
                <a:gd name="T88" fmla="*/ 50 w 283"/>
                <a:gd name="T89" fmla="*/ 225 h 283"/>
                <a:gd name="T90" fmla="*/ 57 w 283"/>
                <a:gd name="T91" fmla="*/ 233 h 283"/>
                <a:gd name="T92" fmla="*/ 90 w 283"/>
                <a:gd name="T93" fmla="*/ 275 h 283"/>
                <a:gd name="T94" fmla="*/ 115 w 283"/>
                <a:gd name="T95" fmla="*/ 262 h 283"/>
                <a:gd name="T96" fmla="*/ 163 w 283"/>
                <a:gd name="T97" fmla="*/ 283 h 283"/>
                <a:gd name="T98" fmla="*/ 179 w 283"/>
                <a:gd name="T99" fmla="*/ 259 h 283"/>
                <a:gd name="T100" fmla="*/ 231 w 283"/>
                <a:gd name="T101" fmla="*/ 253 h 283"/>
                <a:gd name="T102" fmla="*/ 225 w 283"/>
                <a:gd name="T103" fmla="*/ 233 h 283"/>
                <a:gd name="T104" fmla="*/ 233 w 283"/>
                <a:gd name="T105" fmla="*/ 225 h 283"/>
                <a:gd name="T106" fmla="*/ 253 w 283"/>
                <a:gd name="T107" fmla="*/ 231 h 283"/>
                <a:gd name="T108" fmla="*/ 260 w 283"/>
                <a:gd name="T109" fmla="*/ 178 h 283"/>
                <a:gd name="T110" fmla="*/ 262 w 283"/>
                <a:gd name="T111" fmla="*/ 168 h 283"/>
                <a:gd name="T112" fmla="*/ 283 w 283"/>
                <a:gd name="T113" fmla="*/ 119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3" h="283">
                  <a:moveTo>
                    <a:pt x="278" y="115"/>
                  </a:moveTo>
                  <a:cubicBezTo>
                    <a:pt x="262" y="115"/>
                    <a:pt x="262" y="115"/>
                    <a:pt x="262" y="115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59" y="101"/>
                    <a:pt x="259" y="101"/>
                    <a:pt x="259" y="101"/>
                  </a:cubicBezTo>
                  <a:cubicBezTo>
                    <a:pt x="258" y="98"/>
                    <a:pt x="255" y="97"/>
                    <a:pt x="253" y="98"/>
                  </a:cubicBezTo>
                  <a:cubicBezTo>
                    <a:pt x="250" y="98"/>
                    <a:pt x="249" y="101"/>
                    <a:pt x="250" y="103"/>
                  </a:cubicBezTo>
                  <a:cubicBezTo>
                    <a:pt x="252" y="111"/>
                    <a:pt x="252" y="111"/>
                    <a:pt x="252" y="111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2"/>
                    <a:pt x="256" y="124"/>
                    <a:pt x="259" y="124"/>
                  </a:cubicBezTo>
                  <a:cubicBezTo>
                    <a:pt x="274" y="124"/>
                    <a:pt x="274" y="124"/>
                    <a:pt x="274" y="124"/>
                  </a:cubicBezTo>
                  <a:cubicBezTo>
                    <a:pt x="274" y="159"/>
                    <a:pt x="274" y="159"/>
                    <a:pt x="274" y="159"/>
                  </a:cubicBezTo>
                  <a:cubicBezTo>
                    <a:pt x="259" y="159"/>
                    <a:pt x="259" y="159"/>
                    <a:pt x="259" y="159"/>
                  </a:cubicBezTo>
                  <a:cubicBezTo>
                    <a:pt x="256" y="159"/>
                    <a:pt x="254" y="161"/>
                    <a:pt x="254" y="163"/>
                  </a:cubicBezTo>
                  <a:cubicBezTo>
                    <a:pt x="252" y="171"/>
                    <a:pt x="252" y="171"/>
                    <a:pt x="252" y="171"/>
                  </a:cubicBezTo>
                  <a:cubicBezTo>
                    <a:pt x="250" y="179"/>
                    <a:pt x="250" y="179"/>
                    <a:pt x="250" y="179"/>
                  </a:cubicBezTo>
                  <a:cubicBezTo>
                    <a:pt x="249" y="181"/>
                    <a:pt x="250" y="183"/>
                    <a:pt x="252" y="184"/>
                  </a:cubicBezTo>
                  <a:cubicBezTo>
                    <a:pt x="265" y="192"/>
                    <a:pt x="265" y="192"/>
                    <a:pt x="265" y="192"/>
                  </a:cubicBezTo>
                  <a:cubicBezTo>
                    <a:pt x="247" y="223"/>
                    <a:pt x="247" y="223"/>
                    <a:pt x="247" y="223"/>
                  </a:cubicBezTo>
                  <a:cubicBezTo>
                    <a:pt x="235" y="215"/>
                    <a:pt x="235" y="215"/>
                    <a:pt x="235" y="215"/>
                  </a:cubicBezTo>
                  <a:cubicBezTo>
                    <a:pt x="233" y="214"/>
                    <a:pt x="230" y="214"/>
                    <a:pt x="229" y="216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16" y="228"/>
                    <a:pt x="216" y="228"/>
                    <a:pt x="216" y="228"/>
                  </a:cubicBezTo>
                  <a:cubicBezTo>
                    <a:pt x="214" y="230"/>
                    <a:pt x="214" y="232"/>
                    <a:pt x="215" y="234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192" y="264"/>
                    <a:pt x="192" y="264"/>
                    <a:pt x="192" y="264"/>
                  </a:cubicBezTo>
                  <a:cubicBezTo>
                    <a:pt x="185" y="252"/>
                    <a:pt x="185" y="252"/>
                    <a:pt x="185" y="252"/>
                  </a:cubicBezTo>
                  <a:cubicBezTo>
                    <a:pt x="184" y="250"/>
                    <a:pt x="182" y="249"/>
                    <a:pt x="180" y="250"/>
                  </a:cubicBezTo>
                  <a:cubicBezTo>
                    <a:pt x="162" y="254"/>
                    <a:pt x="162" y="254"/>
                    <a:pt x="162" y="254"/>
                  </a:cubicBezTo>
                  <a:cubicBezTo>
                    <a:pt x="160" y="254"/>
                    <a:pt x="159" y="256"/>
                    <a:pt x="159" y="258"/>
                  </a:cubicBezTo>
                  <a:cubicBezTo>
                    <a:pt x="159" y="274"/>
                    <a:pt x="159" y="274"/>
                    <a:pt x="159" y="274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258"/>
                    <a:pt x="124" y="258"/>
                    <a:pt x="124" y="258"/>
                  </a:cubicBezTo>
                  <a:cubicBezTo>
                    <a:pt x="124" y="256"/>
                    <a:pt x="123" y="254"/>
                    <a:pt x="120" y="254"/>
                  </a:cubicBezTo>
                  <a:cubicBezTo>
                    <a:pt x="103" y="250"/>
                    <a:pt x="103" y="250"/>
                    <a:pt x="103" y="250"/>
                  </a:cubicBezTo>
                  <a:cubicBezTo>
                    <a:pt x="101" y="249"/>
                    <a:pt x="99" y="250"/>
                    <a:pt x="98" y="252"/>
                  </a:cubicBezTo>
                  <a:cubicBezTo>
                    <a:pt x="90" y="264"/>
                    <a:pt x="90" y="264"/>
                    <a:pt x="90" y="264"/>
                  </a:cubicBezTo>
                  <a:cubicBezTo>
                    <a:pt x="60" y="247"/>
                    <a:pt x="60" y="247"/>
                    <a:pt x="60" y="247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8" y="232"/>
                    <a:pt x="68" y="230"/>
                    <a:pt x="66" y="228"/>
                  </a:cubicBezTo>
                  <a:cubicBezTo>
                    <a:pt x="60" y="223"/>
                    <a:pt x="60" y="223"/>
                    <a:pt x="60" y="223"/>
                  </a:cubicBezTo>
                  <a:cubicBezTo>
                    <a:pt x="54" y="216"/>
                    <a:pt x="54" y="216"/>
                    <a:pt x="54" y="216"/>
                  </a:cubicBezTo>
                  <a:cubicBezTo>
                    <a:pt x="53" y="214"/>
                    <a:pt x="50" y="214"/>
                    <a:pt x="48" y="215"/>
                  </a:cubicBezTo>
                  <a:cubicBezTo>
                    <a:pt x="36" y="223"/>
                    <a:pt x="36" y="223"/>
                    <a:pt x="36" y="223"/>
                  </a:cubicBezTo>
                  <a:cubicBezTo>
                    <a:pt x="18" y="192"/>
                    <a:pt x="18" y="192"/>
                    <a:pt x="18" y="192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33" y="183"/>
                    <a:pt x="34" y="181"/>
                    <a:pt x="33" y="179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28" y="160"/>
                    <a:pt x="26" y="159"/>
                    <a:pt x="24" y="159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24" y="124"/>
                    <a:pt x="24" y="124"/>
                    <a:pt x="24" y="124"/>
                  </a:cubicBezTo>
                  <a:cubicBezTo>
                    <a:pt x="26" y="124"/>
                    <a:pt x="28" y="122"/>
                    <a:pt x="29" y="120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3" y="103"/>
                    <a:pt x="33" y="103"/>
                    <a:pt x="33" y="103"/>
                  </a:cubicBezTo>
                  <a:cubicBezTo>
                    <a:pt x="34" y="101"/>
                    <a:pt x="33" y="99"/>
                    <a:pt x="31" y="98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50" y="69"/>
                    <a:pt x="53" y="68"/>
                    <a:pt x="54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8" y="52"/>
                    <a:pt x="68" y="50"/>
                    <a:pt x="67" y="48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9" y="32"/>
                    <a:pt x="101" y="33"/>
                    <a:pt x="103" y="33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3" y="28"/>
                    <a:pt x="124" y="26"/>
                    <a:pt x="124" y="24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24"/>
                    <a:pt x="159" y="24"/>
                    <a:pt x="159" y="24"/>
                  </a:cubicBezTo>
                  <a:cubicBezTo>
                    <a:pt x="159" y="26"/>
                    <a:pt x="160" y="28"/>
                    <a:pt x="162" y="28"/>
                  </a:cubicBezTo>
                  <a:cubicBezTo>
                    <a:pt x="180" y="33"/>
                    <a:pt x="180" y="33"/>
                    <a:pt x="180" y="33"/>
                  </a:cubicBezTo>
                  <a:cubicBezTo>
                    <a:pt x="182" y="33"/>
                    <a:pt x="184" y="32"/>
                    <a:pt x="185" y="30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223" y="35"/>
                    <a:pt x="223" y="35"/>
                    <a:pt x="223" y="35"/>
                  </a:cubicBezTo>
                  <a:cubicBezTo>
                    <a:pt x="215" y="48"/>
                    <a:pt x="215" y="48"/>
                    <a:pt x="215" y="48"/>
                  </a:cubicBezTo>
                  <a:cubicBezTo>
                    <a:pt x="214" y="50"/>
                    <a:pt x="214" y="53"/>
                    <a:pt x="216" y="54"/>
                  </a:cubicBezTo>
                  <a:cubicBezTo>
                    <a:pt x="223" y="60"/>
                    <a:pt x="223" y="60"/>
                    <a:pt x="223" y="60"/>
                  </a:cubicBezTo>
                  <a:cubicBezTo>
                    <a:pt x="229" y="67"/>
                    <a:pt x="229" y="67"/>
                    <a:pt x="229" y="67"/>
                  </a:cubicBezTo>
                  <a:cubicBezTo>
                    <a:pt x="231" y="68"/>
                    <a:pt x="233" y="69"/>
                    <a:pt x="235" y="67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67" y="94"/>
                    <a:pt x="267" y="94"/>
                    <a:pt x="267" y="94"/>
                  </a:cubicBezTo>
                  <a:cubicBezTo>
                    <a:pt x="269" y="96"/>
                    <a:pt x="272" y="97"/>
                    <a:pt x="274" y="96"/>
                  </a:cubicBezTo>
                  <a:cubicBezTo>
                    <a:pt x="276" y="95"/>
                    <a:pt x="277" y="92"/>
                    <a:pt x="275" y="89"/>
                  </a:cubicBezTo>
                  <a:cubicBezTo>
                    <a:pt x="253" y="51"/>
                    <a:pt x="253" y="51"/>
                    <a:pt x="253" y="51"/>
                  </a:cubicBezTo>
                  <a:cubicBezTo>
                    <a:pt x="252" y="49"/>
                    <a:pt x="249" y="49"/>
                    <a:pt x="247" y="50"/>
                  </a:cubicBezTo>
                  <a:cubicBezTo>
                    <a:pt x="233" y="58"/>
                    <a:pt x="233" y="58"/>
                    <a:pt x="233" y="58"/>
                  </a:cubicBezTo>
                  <a:cubicBezTo>
                    <a:pt x="229" y="54"/>
                    <a:pt x="229" y="54"/>
                    <a:pt x="229" y="54"/>
                  </a:cubicBezTo>
                  <a:cubicBezTo>
                    <a:pt x="225" y="50"/>
                    <a:pt x="225" y="50"/>
                    <a:pt x="225" y="50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34" y="35"/>
                    <a:pt x="234" y="33"/>
                    <a:pt x="234" y="32"/>
                  </a:cubicBezTo>
                  <a:cubicBezTo>
                    <a:pt x="233" y="31"/>
                    <a:pt x="232" y="30"/>
                    <a:pt x="231" y="29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1" y="6"/>
                    <a:pt x="188" y="7"/>
                    <a:pt x="187" y="9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2"/>
                    <a:pt x="166" y="0"/>
                    <a:pt x="163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7" y="0"/>
                    <a:pt x="115" y="2"/>
                    <a:pt x="115" y="5"/>
                  </a:cubicBezTo>
                  <a:cubicBezTo>
                    <a:pt x="115" y="20"/>
                    <a:pt x="115" y="20"/>
                    <a:pt x="115" y="20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5" y="7"/>
                    <a:pt x="92" y="6"/>
                    <a:pt x="90" y="7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49" y="31"/>
                    <a:pt x="48" y="34"/>
                    <a:pt x="49" y="36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4" y="49"/>
                    <a:pt x="32" y="49"/>
                    <a:pt x="30" y="51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91"/>
                    <a:pt x="6" y="92"/>
                    <a:pt x="7" y="93"/>
                  </a:cubicBezTo>
                  <a:cubicBezTo>
                    <a:pt x="7" y="94"/>
                    <a:pt x="8" y="95"/>
                    <a:pt x="9" y="96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0" y="115"/>
                    <a:pt x="20" y="115"/>
                    <a:pt x="20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2" y="115"/>
                    <a:pt x="0" y="117"/>
                    <a:pt x="0" y="1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6"/>
                    <a:pt x="2" y="168"/>
                    <a:pt x="4" y="168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22" y="174"/>
                    <a:pt x="22" y="174"/>
                    <a:pt x="22" y="174"/>
                  </a:cubicBezTo>
                  <a:cubicBezTo>
                    <a:pt x="23" y="178"/>
                    <a:pt x="23" y="178"/>
                    <a:pt x="23" y="178"/>
                  </a:cubicBezTo>
                  <a:cubicBezTo>
                    <a:pt x="9" y="187"/>
                    <a:pt x="9" y="187"/>
                    <a:pt x="9" y="187"/>
                  </a:cubicBezTo>
                  <a:cubicBezTo>
                    <a:pt x="8" y="188"/>
                    <a:pt x="7" y="189"/>
                    <a:pt x="7" y="190"/>
                  </a:cubicBezTo>
                  <a:cubicBezTo>
                    <a:pt x="6" y="191"/>
                    <a:pt x="7" y="192"/>
                    <a:pt x="7" y="193"/>
                  </a:cubicBezTo>
                  <a:cubicBezTo>
                    <a:pt x="30" y="231"/>
                    <a:pt x="30" y="231"/>
                    <a:pt x="30" y="231"/>
                  </a:cubicBezTo>
                  <a:cubicBezTo>
                    <a:pt x="31" y="232"/>
                    <a:pt x="32" y="233"/>
                    <a:pt x="33" y="233"/>
                  </a:cubicBezTo>
                  <a:cubicBezTo>
                    <a:pt x="34" y="234"/>
                    <a:pt x="36" y="234"/>
                    <a:pt x="37" y="233"/>
                  </a:cubicBezTo>
                  <a:cubicBezTo>
                    <a:pt x="50" y="225"/>
                    <a:pt x="50" y="225"/>
                    <a:pt x="50" y="225"/>
                  </a:cubicBezTo>
                  <a:cubicBezTo>
                    <a:pt x="53" y="229"/>
                    <a:pt x="53" y="229"/>
                    <a:pt x="53" y="229"/>
                  </a:cubicBezTo>
                  <a:cubicBezTo>
                    <a:pt x="53" y="229"/>
                    <a:pt x="53" y="229"/>
                    <a:pt x="54" y="229"/>
                  </a:cubicBezTo>
                  <a:cubicBezTo>
                    <a:pt x="57" y="233"/>
                    <a:pt x="57" y="233"/>
                    <a:pt x="57" y="233"/>
                  </a:cubicBezTo>
                  <a:cubicBezTo>
                    <a:pt x="49" y="246"/>
                    <a:pt x="49" y="246"/>
                    <a:pt x="49" y="246"/>
                  </a:cubicBezTo>
                  <a:cubicBezTo>
                    <a:pt x="48" y="249"/>
                    <a:pt x="49" y="252"/>
                    <a:pt x="51" y="253"/>
                  </a:cubicBezTo>
                  <a:cubicBezTo>
                    <a:pt x="90" y="275"/>
                    <a:pt x="90" y="275"/>
                    <a:pt x="90" y="275"/>
                  </a:cubicBezTo>
                  <a:cubicBezTo>
                    <a:pt x="92" y="276"/>
                    <a:pt x="95" y="275"/>
                    <a:pt x="96" y="273"/>
                  </a:cubicBezTo>
                  <a:cubicBezTo>
                    <a:pt x="104" y="259"/>
                    <a:pt x="104" y="259"/>
                    <a:pt x="104" y="259"/>
                  </a:cubicBezTo>
                  <a:cubicBezTo>
                    <a:pt x="115" y="262"/>
                    <a:pt x="115" y="262"/>
                    <a:pt x="115" y="262"/>
                  </a:cubicBezTo>
                  <a:cubicBezTo>
                    <a:pt x="115" y="279"/>
                    <a:pt x="115" y="279"/>
                    <a:pt x="115" y="279"/>
                  </a:cubicBezTo>
                  <a:cubicBezTo>
                    <a:pt x="115" y="281"/>
                    <a:pt x="117" y="283"/>
                    <a:pt x="119" y="283"/>
                  </a:cubicBezTo>
                  <a:cubicBezTo>
                    <a:pt x="163" y="283"/>
                    <a:pt x="163" y="283"/>
                    <a:pt x="163" y="283"/>
                  </a:cubicBezTo>
                  <a:cubicBezTo>
                    <a:pt x="166" y="283"/>
                    <a:pt x="168" y="281"/>
                    <a:pt x="168" y="279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79" y="259"/>
                    <a:pt x="179" y="259"/>
                    <a:pt x="179" y="259"/>
                  </a:cubicBezTo>
                  <a:cubicBezTo>
                    <a:pt x="187" y="273"/>
                    <a:pt x="187" y="273"/>
                    <a:pt x="187" y="273"/>
                  </a:cubicBezTo>
                  <a:cubicBezTo>
                    <a:pt x="188" y="275"/>
                    <a:pt x="191" y="276"/>
                    <a:pt x="193" y="275"/>
                  </a:cubicBezTo>
                  <a:cubicBezTo>
                    <a:pt x="231" y="253"/>
                    <a:pt x="231" y="253"/>
                    <a:pt x="231" y="253"/>
                  </a:cubicBezTo>
                  <a:cubicBezTo>
                    <a:pt x="232" y="252"/>
                    <a:pt x="233" y="251"/>
                    <a:pt x="234" y="250"/>
                  </a:cubicBezTo>
                  <a:cubicBezTo>
                    <a:pt x="234" y="249"/>
                    <a:pt x="234" y="247"/>
                    <a:pt x="233" y="246"/>
                  </a:cubicBezTo>
                  <a:cubicBezTo>
                    <a:pt x="225" y="233"/>
                    <a:pt x="225" y="233"/>
                    <a:pt x="225" y="233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33" y="225"/>
                    <a:pt x="233" y="225"/>
                    <a:pt x="233" y="225"/>
                  </a:cubicBezTo>
                  <a:cubicBezTo>
                    <a:pt x="246" y="233"/>
                    <a:pt x="246" y="233"/>
                    <a:pt x="246" y="233"/>
                  </a:cubicBezTo>
                  <a:cubicBezTo>
                    <a:pt x="248" y="234"/>
                    <a:pt x="249" y="234"/>
                    <a:pt x="250" y="233"/>
                  </a:cubicBezTo>
                  <a:cubicBezTo>
                    <a:pt x="251" y="233"/>
                    <a:pt x="252" y="232"/>
                    <a:pt x="253" y="231"/>
                  </a:cubicBezTo>
                  <a:cubicBezTo>
                    <a:pt x="275" y="193"/>
                    <a:pt x="275" y="193"/>
                    <a:pt x="275" y="193"/>
                  </a:cubicBezTo>
                  <a:cubicBezTo>
                    <a:pt x="277" y="191"/>
                    <a:pt x="276" y="188"/>
                    <a:pt x="274" y="187"/>
                  </a:cubicBezTo>
                  <a:cubicBezTo>
                    <a:pt x="260" y="178"/>
                    <a:pt x="260" y="178"/>
                    <a:pt x="260" y="178"/>
                  </a:cubicBezTo>
                  <a:cubicBezTo>
                    <a:pt x="261" y="174"/>
                    <a:pt x="261" y="174"/>
                    <a:pt x="261" y="174"/>
                  </a:cubicBezTo>
                  <a:cubicBezTo>
                    <a:pt x="261" y="173"/>
                    <a:pt x="261" y="173"/>
                    <a:pt x="261" y="173"/>
                  </a:cubicBezTo>
                  <a:cubicBezTo>
                    <a:pt x="262" y="168"/>
                    <a:pt x="262" y="168"/>
                    <a:pt x="262" y="168"/>
                  </a:cubicBezTo>
                  <a:cubicBezTo>
                    <a:pt x="278" y="168"/>
                    <a:pt x="278" y="168"/>
                    <a:pt x="278" y="168"/>
                  </a:cubicBezTo>
                  <a:cubicBezTo>
                    <a:pt x="281" y="168"/>
                    <a:pt x="283" y="166"/>
                    <a:pt x="283" y="164"/>
                  </a:cubicBezTo>
                  <a:cubicBezTo>
                    <a:pt x="283" y="119"/>
                    <a:pt x="283" y="119"/>
                    <a:pt x="283" y="119"/>
                  </a:cubicBezTo>
                  <a:cubicBezTo>
                    <a:pt x="283" y="117"/>
                    <a:pt x="281" y="115"/>
                    <a:pt x="278" y="115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64"/>
            <p:cNvSpPr>
              <a:spLocks noEditPoints="1"/>
            </p:cNvSpPr>
            <p:nvPr/>
          </p:nvSpPr>
          <p:spPr bwMode="auto">
            <a:xfrm>
              <a:off x="-3238501" y="4470401"/>
              <a:ext cx="215900" cy="255588"/>
            </a:xfrm>
            <a:custGeom>
              <a:avLst/>
              <a:gdLst>
                <a:gd name="T0" fmla="*/ 94 w 165"/>
                <a:gd name="T1" fmla="*/ 19 h 197"/>
                <a:gd name="T2" fmla="*/ 87 w 165"/>
                <a:gd name="T3" fmla="*/ 2 h 197"/>
                <a:gd name="T4" fmla="*/ 84 w 165"/>
                <a:gd name="T5" fmla="*/ 0 h 197"/>
                <a:gd name="T6" fmla="*/ 82 w 165"/>
                <a:gd name="T7" fmla="*/ 0 h 197"/>
                <a:gd name="T8" fmla="*/ 82 w 165"/>
                <a:gd name="T9" fmla="*/ 0 h 197"/>
                <a:gd name="T10" fmla="*/ 78 w 165"/>
                <a:gd name="T11" fmla="*/ 2 h 197"/>
                <a:gd name="T12" fmla="*/ 71 w 165"/>
                <a:gd name="T13" fmla="*/ 19 h 197"/>
                <a:gd name="T14" fmla="*/ 0 w 165"/>
                <a:gd name="T15" fmla="*/ 101 h 197"/>
                <a:gd name="T16" fmla="*/ 23 w 165"/>
                <a:gd name="T17" fmla="*/ 158 h 197"/>
                <a:gd name="T18" fmla="*/ 33 w 165"/>
                <a:gd name="T19" fmla="*/ 174 h 197"/>
                <a:gd name="T20" fmla="*/ 82 w 165"/>
                <a:gd name="T21" fmla="*/ 197 h 197"/>
                <a:gd name="T22" fmla="*/ 82 w 165"/>
                <a:gd name="T23" fmla="*/ 197 h 197"/>
                <a:gd name="T24" fmla="*/ 82 w 165"/>
                <a:gd name="T25" fmla="*/ 197 h 197"/>
                <a:gd name="T26" fmla="*/ 132 w 165"/>
                <a:gd name="T27" fmla="*/ 174 h 197"/>
                <a:gd name="T28" fmla="*/ 142 w 165"/>
                <a:gd name="T29" fmla="*/ 158 h 197"/>
                <a:gd name="T30" fmla="*/ 165 w 165"/>
                <a:gd name="T31" fmla="*/ 101 h 197"/>
                <a:gd name="T32" fmla="*/ 94 w 165"/>
                <a:gd name="T33" fmla="*/ 19 h 197"/>
                <a:gd name="T34" fmla="*/ 9 w 165"/>
                <a:gd name="T35" fmla="*/ 101 h 197"/>
                <a:gd name="T36" fmla="*/ 65 w 165"/>
                <a:gd name="T37" fmla="*/ 29 h 197"/>
                <a:gd name="T38" fmla="*/ 48 w 165"/>
                <a:gd name="T39" fmla="*/ 61 h 197"/>
                <a:gd name="T40" fmla="*/ 19 w 165"/>
                <a:gd name="T41" fmla="*/ 129 h 197"/>
                <a:gd name="T42" fmla="*/ 18 w 165"/>
                <a:gd name="T43" fmla="*/ 136 h 197"/>
                <a:gd name="T44" fmla="*/ 9 w 165"/>
                <a:gd name="T45" fmla="*/ 101 h 197"/>
                <a:gd name="T46" fmla="*/ 125 w 165"/>
                <a:gd name="T47" fmla="*/ 168 h 197"/>
                <a:gd name="T48" fmla="*/ 82 w 165"/>
                <a:gd name="T49" fmla="*/ 187 h 197"/>
                <a:gd name="T50" fmla="*/ 82 w 165"/>
                <a:gd name="T51" fmla="*/ 187 h 197"/>
                <a:gd name="T52" fmla="*/ 82 w 165"/>
                <a:gd name="T53" fmla="*/ 187 h 197"/>
                <a:gd name="T54" fmla="*/ 40 w 165"/>
                <a:gd name="T55" fmla="*/ 168 h 197"/>
                <a:gd name="T56" fmla="*/ 28 w 165"/>
                <a:gd name="T57" fmla="*/ 130 h 197"/>
                <a:gd name="T58" fmla="*/ 56 w 165"/>
                <a:gd name="T59" fmla="*/ 66 h 197"/>
                <a:gd name="T60" fmla="*/ 82 w 165"/>
                <a:gd name="T61" fmla="*/ 16 h 197"/>
                <a:gd name="T62" fmla="*/ 109 w 165"/>
                <a:gd name="T63" fmla="*/ 66 h 197"/>
                <a:gd name="T64" fmla="*/ 137 w 165"/>
                <a:gd name="T65" fmla="*/ 130 h 197"/>
                <a:gd name="T66" fmla="*/ 125 w 165"/>
                <a:gd name="T67" fmla="*/ 168 h 197"/>
                <a:gd name="T68" fmla="*/ 146 w 165"/>
                <a:gd name="T69" fmla="*/ 136 h 197"/>
                <a:gd name="T70" fmla="*/ 146 w 165"/>
                <a:gd name="T71" fmla="*/ 129 h 197"/>
                <a:gd name="T72" fmla="*/ 117 w 165"/>
                <a:gd name="T73" fmla="*/ 61 h 197"/>
                <a:gd name="T74" fmla="*/ 99 w 165"/>
                <a:gd name="T75" fmla="*/ 29 h 197"/>
                <a:gd name="T76" fmla="*/ 156 w 165"/>
                <a:gd name="T77" fmla="*/ 101 h 197"/>
                <a:gd name="T78" fmla="*/ 146 w 165"/>
                <a:gd name="T79" fmla="*/ 13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5" h="197">
                  <a:moveTo>
                    <a:pt x="94" y="19"/>
                  </a:moveTo>
                  <a:cubicBezTo>
                    <a:pt x="91" y="14"/>
                    <a:pt x="89" y="8"/>
                    <a:pt x="87" y="2"/>
                  </a:cubicBezTo>
                  <a:cubicBezTo>
                    <a:pt x="86" y="1"/>
                    <a:pt x="85" y="0"/>
                    <a:pt x="84" y="0"/>
                  </a:cubicBezTo>
                  <a:cubicBezTo>
                    <a:pt x="83" y="0"/>
                    <a:pt x="83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0" y="0"/>
                    <a:pt x="79" y="1"/>
                    <a:pt x="78" y="2"/>
                  </a:cubicBezTo>
                  <a:cubicBezTo>
                    <a:pt x="76" y="8"/>
                    <a:pt x="73" y="14"/>
                    <a:pt x="71" y="19"/>
                  </a:cubicBezTo>
                  <a:cubicBezTo>
                    <a:pt x="30" y="25"/>
                    <a:pt x="0" y="59"/>
                    <a:pt x="0" y="101"/>
                  </a:cubicBezTo>
                  <a:cubicBezTo>
                    <a:pt x="0" y="122"/>
                    <a:pt x="8" y="142"/>
                    <a:pt x="23" y="158"/>
                  </a:cubicBezTo>
                  <a:cubicBezTo>
                    <a:pt x="25" y="164"/>
                    <a:pt x="29" y="169"/>
                    <a:pt x="33" y="174"/>
                  </a:cubicBezTo>
                  <a:cubicBezTo>
                    <a:pt x="45" y="188"/>
                    <a:pt x="64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101" y="197"/>
                    <a:pt x="119" y="188"/>
                    <a:pt x="132" y="174"/>
                  </a:cubicBezTo>
                  <a:cubicBezTo>
                    <a:pt x="136" y="169"/>
                    <a:pt x="139" y="164"/>
                    <a:pt x="142" y="158"/>
                  </a:cubicBezTo>
                  <a:cubicBezTo>
                    <a:pt x="157" y="142"/>
                    <a:pt x="165" y="122"/>
                    <a:pt x="165" y="101"/>
                  </a:cubicBezTo>
                  <a:cubicBezTo>
                    <a:pt x="165" y="59"/>
                    <a:pt x="135" y="25"/>
                    <a:pt x="94" y="19"/>
                  </a:cubicBezTo>
                  <a:close/>
                  <a:moveTo>
                    <a:pt x="9" y="101"/>
                  </a:moveTo>
                  <a:cubicBezTo>
                    <a:pt x="9" y="66"/>
                    <a:pt x="33" y="37"/>
                    <a:pt x="65" y="29"/>
                  </a:cubicBezTo>
                  <a:cubicBezTo>
                    <a:pt x="59" y="41"/>
                    <a:pt x="53" y="51"/>
                    <a:pt x="48" y="61"/>
                  </a:cubicBezTo>
                  <a:cubicBezTo>
                    <a:pt x="34" y="86"/>
                    <a:pt x="21" y="107"/>
                    <a:pt x="19" y="129"/>
                  </a:cubicBezTo>
                  <a:cubicBezTo>
                    <a:pt x="18" y="131"/>
                    <a:pt x="18" y="134"/>
                    <a:pt x="18" y="136"/>
                  </a:cubicBezTo>
                  <a:cubicBezTo>
                    <a:pt x="12" y="126"/>
                    <a:pt x="9" y="113"/>
                    <a:pt x="9" y="101"/>
                  </a:cubicBezTo>
                  <a:close/>
                  <a:moveTo>
                    <a:pt x="125" y="168"/>
                  </a:moveTo>
                  <a:cubicBezTo>
                    <a:pt x="114" y="180"/>
                    <a:pt x="98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66" y="187"/>
                    <a:pt x="51" y="180"/>
                    <a:pt x="40" y="168"/>
                  </a:cubicBezTo>
                  <a:cubicBezTo>
                    <a:pt x="30" y="157"/>
                    <a:pt x="26" y="143"/>
                    <a:pt x="28" y="130"/>
                  </a:cubicBezTo>
                  <a:cubicBezTo>
                    <a:pt x="30" y="110"/>
                    <a:pt x="42" y="90"/>
                    <a:pt x="56" y="66"/>
                  </a:cubicBezTo>
                  <a:cubicBezTo>
                    <a:pt x="64" y="51"/>
                    <a:pt x="74" y="34"/>
                    <a:pt x="82" y="16"/>
                  </a:cubicBezTo>
                  <a:cubicBezTo>
                    <a:pt x="91" y="34"/>
                    <a:pt x="100" y="51"/>
                    <a:pt x="109" y="66"/>
                  </a:cubicBezTo>
                  <a:cubicBezTo>
                    <a:pt x="122" y="90"/>
                    <a:pt x="134" y="110"/>
                    <a:pt x="137" y="130"/>
                  </a:cubicBezTo>
                  <a:cubicBezTo>
                    <a:pt x="138" y="143"/>
                    <a:pt x="134" y="157"/>
                    <a:pt x="125" y="168"/>
                  </a:cubicBezTo>
                  <a:close/>
                  <a:moveTo>
                    <a:pt x="146" y="136"/>
                  </a:moveTo>
                  <a:cubicBezTo>
                    <a:pt x="146" y="134"/>
                    <a:pt x="146" y="131"/>
                    <a:pt x="146" y="129"/>
                  </a:cubicBezTo>
                  <a:cubicBezTo>
                    <a:pt x="143" y="107"/>
                    <a:pt x="131" y="86"/>
                    <a:pt x="117" y="61"/>
                  </a:cubicBezTo>
                  <a:cubicBezTo>
                    <a:pt x="111" y="51"/>
                    <a:pt x="105" y="41"/>
                    <a:pt x="99" y="29"/>
                  </a:cubicBezTo>
                  <a:cubicBezTo>
                    <a:pt x="132" y="37"/>
                    <a:pt x="156" y="66"/>
                    <a:pt x="156" y="101"/>
                  </a:cubicBezTo>
                  <a:cubicBezTo>
                    <a:pt x="156" y="113"/>
                    <a:pt x="152" y="126"/>
                    <a:pt x="146" y="13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290662" y="3056121"/>
            <a:ext cx="5465245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Вид используемого топлива:</a:t>
            </a:r>
            <a:endParaRPr lang="ru-RU" sz="16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Основное топливо – уголь </a:t>
            </a:r>
            <a:r>
              <a:rPr lang="ru-RU" sz="1600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экибастузского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бассейна; </a:t>
            </a:r>
          </a:p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астопочное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топливо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– мазут М-100.</a:t>
            </a:r>
            <a:endParaRPr lang="ru-RU" sz="16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grpSp>
        <p:nvGrpSpPr>
          <p:cNvPr id="26" name="Group 481"/>
          <p:cNvGrpSpPr/>
          <p:nvPr/>
        </p:nvGrpSpPr>
        <p:grpSpPr>
          <a:xfrm>
            <a:off x="519060" y="1830170"/>
            <a:ext cx="369888" cy="369888"/>
            <a:chOff x="-1550988" y="2722564"/>
            <a:chExt cx="369888" cy="369888"/>
          </a:xfrm>
        </p:grpSpPr>
        <p:sp>
          <p:nvSpPr>
            <p:cNvPr id="27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46258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0293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4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Информация об исполнении утвержденной инвестиционной </a:t>
            </a:r>
            <a:r>
              <a:rPr lang="ru-RU" b="0" dirty="0" smtClean="0">
                <a:solidFill>
                  <a:schemeClr val="accent1"/>
                </a:solidFill>
              </a:rPr>
              <a:t>программы за 1 полугодие 2026 года</a:t>
            </a:r>
            <a:endParaRPr lang="ru-RU" b="0" dirty="0">
              <a:solidFill>
                <a:schemeClr val="accent1"/>
              </a:solidFill>
            </a:endParaRPr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15591065"/>
              </p:ext>
            </p:extLst>
          </p:nvPr>
        </p:nvGraphicFramePr>
        <p:xfrm>
          <a:off x="317500" y="851027"/>
          <a:ext cx="11633074" cy="54411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47" name="Лист" r:id="rId6" imgW="15858969" imgH="7343839" progId="Excel.Sheet.12">
                  <p:embed/>
                </p:oleObj>
              </mc:Choice>
              <mc:Fallback>
                <p:oleObj name="Лист" r:id="rId6" imgW="15858969" imgH="734383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500" y="851027"/>
                        <a:ext cx="11633074" cy="54411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5781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25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</a:t>
            </a:r>
            <a:r>
              <a:rPr lang="ru-RU" b="0" dirty="0" smtClean="0">
                <a:solidFill>
                  <a:schemeClr val="accent1"/>
                </a:solidFill>
              </a:rPr>
              <a:t>Информация о постатейном </a:t>
            </a:r>
            <a:r>
              <a:rPr lang="ru-RU" b="0" dirty="0">
                <a:solidFill>
                  <a:schemeClr val="accent1"/>
                </a:solidFill>
              </a:rPr>
              <a:t>исполнении </a:t>
            </a:r>
            <a:r>
              <a:rPr lang="ru-RU" b="0" dirty="0" smtClean="0">
                <a:solidFill>
                  <a:schemeClr val="accent1"/>
                </a:solidFill>
              </a:rPr>
              <a:t>утвержденной тарифной </a:t>
            </a:r>
            <a:r>
              <a:rPr lang="ru-RU" b="0" dirty="0">
                <a:solidFill>
                  <a:schemeClr val="accent1"/>
                </a:solidFill>
              </a:rPr>
              <a:t>сметы по производству тепловой энергии за </a:t>
            </a:r>
            <a:r>
              <a:rPr lang="ru-RU" b="0" dirty="0" smtClean="0">
                <a:solidFill>
                  <a:schemeClr val="accent1"/>
                </a:solidFill>
              </a:rPr>
              <a:t>1 полугодие 2026 года</a:t>
            </a:r>
            <a:endParaRPr lang="ru-RU" b="0" dirty="0">
              <a:solidFill>
                <a:schemeClr val="accent1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992635"/>
              </p:ext>
            </p:extLst>
          </p:nvPr>
        </p:nvGraphicFramePr>
        <p:xfrm>
          <a:off x="838200" y="666838"/>
          <a:ext cx="11172824" cy="6203909"/>
        </p:xfrm>
        <a:graphic>
          <a:graphicData uri="http://schemas.openxmlformats.org/drawingml/2006/table">
            <a:tbl>
              <a:tblPr/>
              <a:tblGrid>
                <a:gridCol w="349657"/>
                <a:gridCol w="3165987"/>
                <a:gridCol w="796413"/>
                <a:gridCol w="1347020"/>
                <a:gridCol w="1081548"/>
                <a:gridCol w="727587"/>
                <a:gridCol w="3704612"/>
              </a:tblGrid>
              <a:tr h="10678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именование показателей тарифной сметы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диница измер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едусмотрено в тарифной смете, утвержденной  приказом  № 105-НҚ от 27.11.2025 г 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клонения, в %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чины отклон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40539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I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траты на производство  товаров и предоставление услуг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338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7 065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атериальные затраты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1 00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7 476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0                               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8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ырье и материал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2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8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44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рифная смета будет исполнен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09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оплив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0 67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7 29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стоимости добычи угля, увеличение стоимости мазут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47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траты на оплату труда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 05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 535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                                </a:t>
                      </a:r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8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жидается исполнение тарифной сметы до конца текущего год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в том числе: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3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работная плата производственных рабочих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 67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 152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величение произошло за счет роста  заработной платы в 2026 г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34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оциальный налог и обязательное страховани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2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74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актические затраты сложились исходя из  фактической численности, не превышающей нормативную, и ставок согласно требованиям законодательств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78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числения обязательные .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офес.пенсион.взнос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 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 01 января 2024 ОППВ не выплачиваютс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1841">
                <a:tc>
                  <a:txBody>
                    <a:bodyPr/>
                    <a:lstStyle/>
                    <a:p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2.3.1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бязательные</a:t>
                      </a:r>
                      <a:r>
                        <a:rPr lang="ru-RU" dirty="0" smtClean="0"/>
                        <a:t> 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пенсионные  взносы работодателя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/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45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в соответствии с Социальным кодексом введены с 01 января 2024 г.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7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числения на обязательное медицинское страхова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величение произошло за счет роста ставки ОСМС с 1 января 2022 г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34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мортизац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3 81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4 240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48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произошло за счет 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ввода 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бъектов в эксплуатацию после 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апитального ремонт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15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Ремонт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 91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екущий ремонт, согласно</a:t>
                      </a: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графику ремонта запланирован на 2 полугодие 2026 г., проводятся закупочные процедур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34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очие затра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0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69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0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.1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ренда земли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6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рост затрат связан с заключением новых договоров аренды земельных участков,  в связи с получением в аренду в 2024-2025 гг. новых  земельных участков 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27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2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та за воду 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48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Ожидается превышение тарифной сметы по году, за счет повышения 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МРП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2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3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логовые платежи и сборы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жидается исполнение тарифной сметы до конца текущего года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005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1496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34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ЕЭК: Отчет </a:t>
            </a:r>
            <a:r>
              <a:rPr lang="ru-RU" dirty="0" smtClean="0"/>
              <a:t>о постатейном исполнении утвержденной тарифной </a:t>
            </a:r>
            <a:r>
              <a:rPr lang="ru-RU" dirty="0"/>
              <a:t>сметы по производству тепловой энергии за </a:t>
            </a:r>
            <a:r>
              <a:rPr lang="ru-RU" dirty="0" smtClean="0"/>
              <a:t>1 полугодие 2026 года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0111766"/>
              </p:ext>
            </p:extLst>
          </p:nvPr>
        </p:nvGraphicFramePr>
        <p:xfrm>
          <a:off x="207305" y="1939672"/>
          <a:ext cx="11535611" cy="3374709"/>
        </p:xfrm>
        <a:graphic>
          <a:graphicData uri="http://schemas.openxmlformats.org/drawingml/2006/table">
            <a:tbl>
              <a:tblPr/>
              <a:tblGrid>
                <a:gridCol w="34549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9883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7483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2457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85827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284067"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периода, всего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36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8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05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щие и административные расходы, всего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33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5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215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1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работная плата административного персонала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4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произошло в связи с повышением заработной платы </a:t>
                      </a:r>
                      <a:endParaRPr lang="ru-RU" sz="9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705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2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ц. налог и социальные отчисления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546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3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числения на обязательное мед. страховани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682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сторонних организаций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3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3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2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546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по предоставлению ЭТП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36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3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5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жидается исполнение тарифной сметы до конца текущего года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3021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по технической экспертизы инвестиционной программ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меньшение произошло за счет предоставленного потенциальным поставщиком ценового предложения на меньшую сумму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3021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по реализации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величение</a:t>
                      </a:r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трат  произошло за счет  увеличения численности 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сонала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I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его затрат на предоставление услуг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 75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1 84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2287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V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ход (РБА*СП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33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2705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быль (убыток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53 99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17339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его доходов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 0</a:t>
                      </a: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</a:t>
                      </a: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85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9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0242334"/>
              </p:ext>
            </p:extLst>
          </p:nvPr>
        </p:nvGraphicFramePr>
        <p:xfrm>
          <a:off x="183504" y="1171448"/>
          <a:ext cx="11544300" cy="688064"/>
        </p:xfrm>
        <a:graphic>
          <a:graphicData uri="http://schemas.openxmlformats.org/drawingml/2006/table">
            <a:tbl>
              <a:tblPr/>
              <a:tblGrid>
                <a:gridCol w="354180">
                  <a:extLst>
                    <a:ext uri="{9D8B030D-6E8A-4147-A177-3AD203B41FA5}">
                      <a16:colId xmlns="" xmlns:a16="http://schemas.microsoft.com/office/drawing/2014/main" val="3873928305"/>
                    </a:ext>
                  </a:extLst>
                </a:gridCol>
                <a:gridCol w="2989007">
                  <a:extLst>
                    <a:ext uri="{9D8B030D-6E8A-4147-A177-3AD203B41FA5}">
                      <a16:colId xmlns="" xmlns:a16="http://schemas.microsoft.com/office/drawing/2014/main" val="693392545"/>
                    </a:ext>
                  </a:extLst>
                </a:gridCol>
                <a:gridCol w="924232">
                  <a:extLst>
                    <a:ext uri="{9D8B030D-6E8A-4147-A177-3AD203B41FA5}">
                      <a16:colId xmlns="" xmlns:a16="http://schemas.microsoft.com/office/drawing/2014/main" val="3514993770"/>
                    </a:ext>
                  </a:extLst>
                </a:gridCol>
                <a:gridCol w="1465007">
                  <a:extLst>
                    <a:ext uri="{9D8B030D-6E8A-4147-A177-3AD203B41FA5}">
                      <a16:colId xmlns="" xmlns:a16="http://schemas.microsoft.com/office/drawing/2014/main" val="3660104766"/>
                    </a:ext>
                  </a:extLst>
                </a:gridCol>
                <a:gridCol w="1236986">
                  <a:extLst>
                    <a:ext uri="{9D8B030D-6E8A-4147-A177-3AD203B41FA5}">
                      <a16:colId xmlns="" xmlns:a16="http://schemas.microsoft.com/office/drawing/2014/main" val="840944139"/>
                    </a:ext>
                  </a:extLst>
                </a:gridCol>
                <a:gridCol w="700982">
                  <a:extLst>
                    <a:ext uri="{9D8B030D-6E8A-4147-A177-3AD203B41FA5}">
                      <a16:colId xmlns="" xmlns:a16="http://schemas.microsoft.com/office/drawing/2014/main" val="3001708712"/>
                    </a:ext>
                  </a:extLst>
                </a:gridCol>
                <a:gridCol w="3873906">
                  <a:extLst>
                    <a:ext uri="{9D8B030D-6E8A-4147-A177-3AD203B41FA5}">
                      <a16:colId xmlns="" xmlns:a16="http://schemas.microsoft.com/office/drawing/2014/main" val="1747598430"/>
                    </a:ext>
                  </a:extLst>
                </a:gridCol>
              </a:tblGrid>
              <a:tr h="6880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именование показателей тарифной сметы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диница измер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Предусмотрено в тарифной смете, утвержденной  приказом  № 105-НҚ от 27.11.2025 г 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клонения, в %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чины отклон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96363508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1545464"/>
              </p:ext>
            </p:extLst>
          </p:nvPr>
        </p:nvGraphicFramePr>
        <p:xfrm>
          <a:off x="199750" y="5314382"/>
          <a:ext cx="11543166" cy="649004"/>
        </p:xfrm>
        <a:graphic>
          <a:graphicData uri="http://schemas.openxmlformats.org/drawingml/2006/table">
            <a:tbl>
              <a:tblPr/>
              <a:tblGrid>
                <a:gridCol w="34402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0575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6666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3127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1522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86583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16417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ъем предоставляемых услуг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Гкал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,82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,515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жидается исполнение тарифной сметы до конца текущего год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20660"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I</a:t>
                      </a:r>
                    </a:p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риф (без НДС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нге/Гкал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04,8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04,81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641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равочно: фактическая себестоимость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нге/Гкал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841,0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8550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157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2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 smtClean="0">
                <a:solidFill>
                  <a:schemeClr val="accent1"/>
                </a:solidFill>
              </a:rPr>
              <a:t>ЕЭК: Информация о </a:t>
            </a:r>
            <a:r>
              <a:rPr lang="ru-RU" b="0" dirty="0">
                <a:solidFill>
                  <a:schemeClr val="accent1"/>
                </a:solidFill>
              </a:rPr>
              <a:t>соблюдении показателей качества и надежности регулируемых услуг и достижении показателей эффективности деятельности за </a:t>
            </a:r>
            <a:r>
              <a:rPr lang="ru-RU" b="0" dirty="0" smtClean="0">
                <a:solidFill>
                  <a:schemeClr val="accent1"/>
                </a:solidFill>
              </a:rPr>
              <a:t>1 полугодие 2026 года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7499" y="1017621"/>
            <a:ext cx="112928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39750" algn="just"/>
            <a:r>
              <a:rPr lang="ru-RU" sz="1600" dirty="0">
                <a:solidFill>
                  <a:prstClr val="black"/>
                </a:solidFill>
              </a:rPr>
              <a:t>Для АО «ЕЭК» показатели качества и надежности регулируемых услуг и показатели эффективности деятельности </a:t>
            </a:r>
            <a:r>
              <a:rPr lang="ru-RU" sz="1600" b="1" dirty="0">
                <a:solidFill>
                  <a:prstClr val="black"/>
                </a:solidFill>
              </a:rPr>
              <a:t>не разрабатывались и не  утверждались. </a:t>
            </a:r>
            <a:endParaRPr lang="ru-RU" sz="1600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17500" y="1626209"/>
            <a:ext cx="112928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/>
              <a:t>Оценка достижения показателей будет осуществлена по результатам выполнения мероприятий, предусмотренных в утвержденной инвестиционной программе, по итогам </a:t>
            </a:r>
            <a:r>
              <a:rPr lang="ru-RU" sz="1600" dirty="0" smtClean="0"/>
              <a:t>2026 </a:t>
            </a:r>
            <a:r>
              <a:rPr lang="ru-RU" sz="1600" dirty="0"/>
              <a:t>года</a:t>
            </a:r>
          </a:p>
        </p:txBody>
      </p:sp>
      <p:grpSp>
        <p:nvGrpSpPr>
          <p:cNvPr id="23" name="Group 481"/>
          <p:cNvGrpSpPr/>
          <p:nvPr/>
        </p:nvGrpSpPr>
        <p:grpSpPr>
          <a:xfrm>
            <a:off x="462199" y="940120"/>
            <a:ext cx="369888" cy="369888"/>
            <a:chOff x="-1550988" y="2722564"/>
            <a:chExt cx="369888" cy="369888"/>
          </a:xfrm>
        </p:grpSpPr>
        <p:sp>
          <p:nvSpPr>
            <p:cNvPr id="24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5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6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8220526"/>
              </p:ext>
            </p:extLst>
          </p:nvPr>
        </p:nvGraphicFramePr>
        <p:xfrm>
          <a:off x="462198" y="2697932"/>
          <a:ext cx="11280027" cy="1905256"/>
        </p:xfrm>
        <a:graphic>
          <a:graphicData uri="http://schemas.openxmlformats.org/drawingml/2006/table">
            <a:tbl>
              <a:tblPr/>
              <a:tblGrid>
                <a:gridCol w="28538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68573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6456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5434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91506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222971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64522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3606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ого полугодия 2026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я показателей 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ы (обоснование) </a:t>
                      </a:r>
                      <a:r>
                        <a:rPr lang="ru-RU" sz="10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достижения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ей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73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597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нижение износа основных средств, %</a:t>
                      </a:r>
                    </a:p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%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утверждался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 dirty="0" smtClean="0"/>
                        <a:t>Оценка достижения показателя будет осуществлена по результатам выполнения мероприятий, предусмотренных в утвержденной инвестиционной программе, по итогам 2026 год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2870613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9703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094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36" name="Слайд think-cell" r:id="rId22" imgW="594" imgH="595" progId="TCLayout.ActiveDocument.1">
                  <p:embed/>
                </p:oleObj>
              </mc:Choice>
              <mc:Fallback>
                <p:oleObj name="Слайд think-cell" r:id="rId22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b="0" dirty="0" smtClean="0">
                <a:solidFill>
                  <a:schemeClr val="accent1"/>
                </a:solidFill>
              </a:rPr>
              <a:t>ЕЭК: Информация об основных финансово-экономических показателях и </a:t>
            </a:r>
            <a:r>
              <a:rPr lang="ru-RU" dirty="0" smtClean="0"/>
              <a:t>об </a:t>
            </a:r>
            <a:r>
              <a:rPr lang="ru-RU" dirty="0"/>
              <a:t>объемах предоставленных услуг по </a:t>
            </a:r>
            <a:r>
              <a:rPr lang="ru-RU" b="0" dirty="0" smtClean="0">
                <a:solidFill>
                  <a:schemeClr val="accent1"/>
                </a:solidFill>
              </a:rPr>
              <a:t>производству тепловой энергии за 1 полугодие 2026 года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31" name="Freeform 140"/>
          <p:cNvSpPr/>
          <p:nvPr/>
        </p:nvSpPr>
        <p:spPr>
          <a:xfrm>
            <a:off x="341312" y="1450644"/>
            <a:ext cx="5475290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показатели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69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9408575"/>
              </p:ext>
            </p:extLst>
          </p:nvPr>
        </p:nvGraphicFramePr>
        <p:xfrm>
          <a:off x="2141537" y="2343150"/>
          <a:ext cx="4139875" cy="1446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aphicFrame>
        <p:nvGraphicFramePr>
          <p:cNvPr id="67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95305775"/>
              </p:ext>
            </p:extLst>
          </p:nvPr>
        </p:nvGraphicFramePr>
        <p:xfrm>
          <a:off x="2089150" y="1495425"/>
          <a:ext cx="2166938" cy="86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468313" y="1787278"/>
            <a:ext cx="1524000" cy="369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Объем оказываемых услуг, тыс. Гкал</a:t>
            </a:r>
            <a:endParaRPr lang="ru-RU" sz="1200" dirty="0">
              <a:latin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81013" y="2713322"/>
            <a:ext cx="1668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Доход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81012" y="3268469"/>
            <a:ext cx="1770482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Затраты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68313" y="4606925"/>
            <a:ext cx="1508125" cy="3683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Себестоимость, </a:t>
            </a:r>
          </a:p>
          <a:p>
            <a:r>
              <a:rPr lang="ru-RU" sz="1200" dirty="0" smtClean="0">
                <a:latin typeface="+mn-lt"/>
              </a:rPr>
              <a:t>тенге/ Гкал</a:t>
            </a:r>
            <a:endParaRPr lang="ru-RU" sz="1200" dirty="0"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55613" y="3941763"/>
            <a:ext cx="15287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/>
              <a:t>Убыток, млн</a:t>
            </a:r>
            <a:r>
              <a:rPr lang="ru-RU" sz="1200" dirty="0"/>
              <a:t>. </a:t>
            </a:r>
            <a:r>
              <a:rPr lang="ru-RU" sz="1200" dirty="0" smtClean="0"/>
              <a:t>тенге</a:t>
            </a:r>
            <a:endParaRPr lang="ru-RU" sz="1200" dirty="0" smtClean="0">
              <a:latin typeface="+mn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81012" y="5356914"/>
            <a:ext cx="1522413" cy="18415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Тариф, тенге/ Гкал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70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45509313"/>
              </p:ext>
            </p:extLst>
          </p:nvPr>
        </p:nvGraphicFramePr>
        <p:xfrm>
          <a:off x="1654175" y="4284663"/>
          <a:ext cx="2960688" cy="895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48" name="Rectangle 119"/>
          <p:cNvSpPr/>
          <p:nvPr/>
        </p:nvSpPr>
        <p:spPr>
          <a:xfrm>
            <a:off x="-1587" y="5963906"/>
            <a:ext cx="12192000" cy="564780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/>
              <a:t>Действующие тарифы </a:t>
            </a:r>
            <a:r>
              <a:rPr lang="ru-RU" dirty="0"/>
              <a:t>не </a:t>
            </a:r>
            <a:r>
              <a:rPr lang="ru-RU" dirty="0" smtClean="0"/>
              <a:t>компенсируют </a:t>
            </a:r>
            <a:r>
              <a:rPr lang="ru-RU" dirty="0"/>
              <a:t>затраты на </a:t>
            </a:r>
            <a:r>
              <a:rPr lang="ru-RU" dirty="0" smtClean="0"/>
              <a:t>регулируемые услуги.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71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37728584"/>
              </p:ext>
            </p:extLst>
          </p:nvPr>
        </p:nvGraphicFramePr>
        <p:xfrm>
          <a:off x="1365250" y="4978400"/>
          <a:ext cx="2960688" cy="882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710787" y="1070700"/>
            <a:ext cx="4765778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сновные финансово-экономические показатели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801868" y="1091338"/>
            <a:ext cx="5191432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бъемы предоставленных регулируемых услуг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grpSp>
        <p:nvGrpSpPr>
          <p:cNvPr id="37" name="Group 3407"/>
          <p:cNvGrpSpPr/>
          <p:nvPr/>
        </p:nvGrpSpPr>
        <p:grpSpPr>
          <a:xfrm>
            <a:off x="317499" y="973863"/>
            <a:ext cx="369887" cy="369888"/>
            <a:chOff x="6277590" y="1074738"/>
            <a:chExt cx="369887" cy="369888"/>
          </a:xfrm>
          <a:solidFill>
            <a:schemeClr val="tx2"/>
          </a:solidFill>
        </p:grpSpPr>
        <p:sp>
          <p:nvSpPr>
            <p:cNvPr id="38" name="Freeform 2647"/>
            <p:cNvSpPr>
              <a:spLocks noEditPoints="1"/>
            </p:cNvSpPr>
            <p:nvPr/>
          </p:nvSpPr>
          <p:spPr bwMode="auto">
            <a:xfrm>
              <a:off x="6301402" y="1098551"/>
              <a:ext cx="61913" cy="63500"/>
            </a:xfrm>
            <a:custGeom>
              <a:avLst/>
              <a:gdLst>
                <a:gd name="T0" fmla="*/ 24 w 48"/>
                <a:gd name="T1" fmla="*/ 48 h 48"/>
                <a:gd name="T2" fmla="*/ 48 w 48"/>
                <a:gd name="T3" fmla="*/ 24 h 48"/>
                <a:gd name="T4" fmla="*/ 24 w 48"/>
                <a:gd name="T5" fmla="*/ 0 h 48"/>
                <a:gd name="T6" fmla="*/ 0 w 48"/>
                <a:gd name="T7" fmla="*/ 24 h 48"/>
                <a:gd name="T8" fmla="*/ 24 w 48"/>
                <a:gd name="T9" fmla="*/ 48 h 48"/>
                <a:gd name="T10" fmla="*/ 24 w 48"/>
                <a:gd name="T11" fmla="*/ 9 h 48"/>
                <a:gd name="T12" fmla="*/ 39 w 48"/>
                <a:gd name="T13" fmla="*/ 24 h 48"/>
                <a:gd name="T14" fmla="*/ 24 w 48"/>
                <a:gd name="T15" fmla="*/ 39 h 48"/>
                <a:gd name="T16" fmla="*/ 9 w 48"/>
                <a:gd name="T17" fmla="*/ 24 h 48"/>
                <a:gd name="T18" fmla="*/ 24 w 48"/>
                <a:gd name="T19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38" y="48"/>
                    <a:pt x="48" y="37"/>
                    <a:pt x="48" y="24"/>
                  </a:cubicBezTo>
                  <a:cubicBezTo>
                    <a:pt x="48" y="11"/>
                    <a:pt x="38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  <a:moveTo>
                    <a:pt x="24" y="9"/>
                  </a:moveTo>
                  <a:cubicBezTo>
                    <a:pt x="33" y="9"/>
                    <a:pt x="39" y="16"/>
                    <a:pt x="39" y="24"/>
                  </a:cubicBezTo>
                  <a:cubicBezTo>
                    <a:pt x="39" y="32"/>
                    <a:pt x="33" y="39"/>
                    <a:pt x="24" y="39"/>
                  </a:cubicBezTo>
                  <a:cubicBezTo>
                    <a:pt x="16" y="39"/>
                    <a:pt x="9" y="32"/>
                    <a:pt x="9" y="24"/>
                  </a:cubicBezTo>
                  <a:cubicBezTo>
                    <a:pt x="9" y="16"/>
                    <a:pt x="16" y="9"/>
                    <a:pt x="2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648"/>
            <p:cNvSpPr>
              <a:spLocks noEditPoints="1"/>
            </p:cNvSpPr>
            <p:nvPr/>
          </p:nvSpPr>
          <p:spPr bwMode="auto">
            <a:xfrm>
              <a:off x="6277590" y="1328738"/>
              <a:ext cx="88900" cy="88900"/>
            </a:xfrm>
            <a:custGeom>
              <a:avLst/>
              <a:gdLst>
                <a:gd name="T0" fmla="*/ 34 w 68"/>
                <a:gd name="T1" fmla="*/ 0 h 68"/>
                <a:gd name="T2" fmla="*/ 0 w 68"/>
                <a:gd name="T3" fmla="*/ 34 h 68"/>
                <a:gd name="T4" fmla="*/ 34 w 68"/>
                <a:gd name="T5" fmla="*/ 68 h 68"/>
                <a:gd name="T6" fmla="*/ 68 w 68"/>
                <a:gd name="T7" fmla="*/ 34 h 68"/>
                <a:gd name="T8" fmla="*/ 34 w 68"/>
                <a:gd name="T9" fmla="*/ 0 h 68"/>
                <a:gd name="T10" fmla="*/ 34 w 68"/>
                <a:gd name="T11" fmla="*/ 59 h 68"/>
                <a:gd name="T12" fmla="*/ 9 w 68"/>
                <a:gd name="T13" fmla="*/ 34 h 68"/>
                <a:gd name="T14" fmla="*/ 34 w 68"/>
                <a:gd name="T15" fmla="*/ 9 h 68"/>
                <a:gd name="T16" fmla="*/ 59 w 68"/>
                <a:gd name="T17" fmla="*/ 34 h 68"/>
                <a:gd name="T18" fmla="*/ 34 w 68"/>
                <a:gd name="T19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0"/>
                  </a:moveTo>
                  <a:cubicBezTo>
                    <a:pt x="16" y="0"/>
                    <a:pt x="0" y="16"/>
                    <a:pt x="0" y="34"/>
                  </a:cubicBezTo>
                  <a:cubicBezTo>
                    <a:pt x="0" y="53"/>
                    <a:pt x="16" y="68"/>
                    <a:pt x="34" y="68"/>
                  </a:cubicBez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lose/>
                  <a:moveTo>
                    <a:pt x="34" y="59"/>
                  </a:moveTo>
                  <a:cubicBezTo>
                    <a:pt x="21" y="59"/>
                    <a:pt x="9" y="48"/>
                    <a:pt x="9" y="34"/>
                  </a:cubicBezTo>
                  <a:cubicBezTo>
                    <a:pt x="9" y="21"/>
                    <a:pt x="21" y="9"/>
                    <a:pt x="34" y="9"/>
                  </a:cubicBezTo>
                  <a:cubicBezTo>
                    <a:pt x="48" y="9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649"/>
            <p:cNvSpPr>
              <a:spLocks noEditPoints="1"/>
            </p:cNvSpPr>
            <p:nvPr/>
          </p:nvSpPr>
          <p:spPr bwMode="auto">
            <a:xfrm>
              <a:off x="6533177" y="1328738"/>
              <a:ext cx="114300" cy="115888"/>
            </a:xfrm>
            <a:custGeom>
              <a:avLst/>
              <a:gdLst>
                <a:gd name="T0" fmla="*/ 44 w 88"/>
                <a:gd name="T1" fmla="*/ 0 h 88"/>
                <a:gd name="T2" fmla="*/ 0 w 88"/>
                <a:gd name="T3" fmla="*/ 44 h 88"/>
                <a:gd name="T4" fmla="*/ 44 w 88"/>
                <a:gd name="T5" fmla="*/ 88 h 88"/>
                <a:gd name="T6" fmla="*/ 88 w 88"/>
                <a:gd name="T7" fmla="*/ 44 h 88"/>
                <a:gd name="T8" fmla="*/ 44 w 88"/>
                <a:gd name="T9" fmla="*/ 0 h 88"/>
                <a:gd name="T10" fmla="*/ 44 w 88"/>
                <a:gd name="T11" fmla="*/ 79 h 88"/>
                <a:gd name="T12" fmla="*/ 9 w 88"/>
                <a:gd name="T13" fmla="*/ 44 h 88"/>
                <a:gd name="T14" fmla="*/ 44 w 88"/>
                <a:gd name="T15" fmla="*/ 9 h 88"/>
                <a:gd name="T16" fmla="*/ 79 w 88"/>
                <a:gd name="T17" fmla="*/ 44 h 88"/>
                <a:gd name="T18" fmla="*/ 44 w 88"/>
                <a:gd name="T19" fmla="*/ 7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lose/>
                  <a:moveTo>
                    <a:pt x="44" y="79"/>
                  </a:moveTo>
                  <a:cubicBezTo>
                    <a:pt x="25" y="79"/>
                    <a:pt x="9" y="63"/>
                    <a:pt x="9" y="44"/>
                  </a:cubicBezTo>
                  <a:cubicBezTo>
                    <a:pt x="9" y="25"/>
                    <a:pt x="25" y="9"/>
                    <a:pt x="44" y="9"/>
                  </a:cubicBezTo>
                  <a:cubicBezTo>
                    <a:pt x="63" y="9"/>
                    <a:pt x="79" y="25"/>
                    <a:pt x="79" y="44"/>
                  </a:cubicBezTo>
                  <a:cubicBezTo>
                    <a:pt x="79" y="63"/>
                    <a:pt x="63" y="79"/>
                    <a:pt x="44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50"/>
            <p:cNvSpPr>
              <a:spLocks noEditPoints="1"/>
            </p:cNvSpPr>
            <p:nvPr/>
          </p:nvSpPr>
          <p:spPr bwMode="auto">
            <a:xfrm>
              <a:off x="6558577" y="1074738"/>
              <a:ext cx="88900" cy="88900"/>
            </a:xfrm>
            <a:custGeom>
              <a:avLst/>
              <a:gdLst>
                <a:gd name="T0" fmla="*/ 34 w 68"/>
                <a:gd name="T1" fmla="*/ 68 h 68"/>
                <a:gd name="T2" fmla="*/ 68 w 68"/>
                <a:gd name="T3" fmla="*/ 34 h 68"/>
                <a:gd name="T4" fmla="*/ 34 w 68"/>
                <a:gd name="T5" fmla="*/ 0 h 68"/>
                <a:gd name="T6" fmla="*/ 0 w 68"/>
                <a:gd name="T7" fmla="*/ 34 h 68"/>
                <a:gd name="T8" fmla="*/ 34 w 68"/>
                <a:gd name="T9" fmla="*/ 68 h 68"/>
                <a:gd name="T10" fmla="*/ 34 w 68"/>
                <a:gd name="T11" fmla="*/ 10 h 68"/>
                <a:gd name="T12" fmla="*/ 59 w 68"/>
                <a:gd name="T13" fmla="*/ 34 h 68"/>
                <a:gd name="T14" fmla="*/ 34 w 68"/>
                <a:gd name="T15" fmla="*/ 59 h 68"/>
                <a:gd name="T16" fmla="*/ 9 w 68"/>
                <a:gd name="T17" fmla="*/ 34 h 68"/>
                <a:gd name="T18" fmla="*/ 34 w 68"/>
                <a:gd name="T19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ubicBezTo>
                    <a:pt x="15" y="0"/>
                    <a:pt x="0" y="16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lose/>
                  <a:moveTo>
                    <a:pt x="34" y="10"/>
                  </a:moveTo>
                  <a:cubicBezTo>
                    <a:pt x="48" y="10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ubicBezTo>
                    <a:pt x="20" y="59"/>
                    <a:pt x="9" y="48"/>
                    <a:pt x="9" y="34"/>
                  </a:cubicBezTo>
                  <a:cubicBezTo>
                    <a:pt x="9" y="21"/>
                    <a:pt x="20" y="10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51"/>
            <p:cNvSpPr>
              <a:spLocks/>
            </p:cNvSpPr>
            <p:nvPr/>
          </p:nvSpPr>
          <p:spPr bwMode="auto">
            <a:xfrm>
              <a:off x="6361727" y="1152526"/>
              <a:ext cx="203200" cy="195263"/>
            </a:xfrm>
            <a:custGeom>
              <a:avLst/>
              <a:gdLst>
                <a:gd name="T0" fmla="*/ 108 w 157"/>
                <a:gd name="T1" fmla="*/ 119 h 150"/>
                <a:gd name="T2" fmla="*/ 133 w 157"/>
                <a:gd name="T3" fmla="*/ 144 h 150"/>
                <a:gd name="T4" fmla="*/ 136 w 157"/>
                <a:gd name="T5" fmla="*/ 145 h 150"/>
                <a:gd name="T6" fmla="*/ 139 w 157"/>
                <a:gd name="T7" fmla="*/ 144 h 150"/>
                <a:gd name="T8" fmla="*/ 139 w 157"/>
                <a:gd name="T9" fmla="*/ 138 h 150"/>
                <a:gd name="T10" fmla="*/ 114 w 157"/>
                <a:gd name="T11" fmla="*/ 113 h 150"/>
                <a:gd name="T12" fmla="*/ 129 w 157"/>
                <a:gd name="T13" fmla="*/ 79 h 150"/>
                <a:gd name="T14" fmla="*/ 125 w 157"/>
                <a:gd name="T15" fmla="*/ 74 h 150"/>
                <a:gd name="T16" fmla="*/ 120 w 157"/>
                <a:gd name="T17" fmla="*/ 78 h 150"/>
                <a:gd name="T18" fmla="*/ 66 w 157"/>
                <a:gd name="T19" fmla="*/ 126 h 150"/>
                <a:gd name="T20" fmla="*/ 39 w 157"/>
                <a:gd name="T21" fmla="*/ 119 h 150"/>
                <a:gd name="T22" fmla="*/ 39 w 157"/>
                <a:gd name="T23" fmla="*/ 119 h 150"/>
                <a:gd name="T24" fmla="*/ 37 w 157"/>
                <a:gd name="T25" fmla="*/ 118 h 150"/>
                <a:gd name="T26" fmla="*/ 12 w 157"/>
                <a:gd name="T27" fmla="*/ 72 h 150"/>
                <a:gd name="T28" fmla="*/ 66 w 157"/>
                <a:gd name="T29" fmla="*/ 17 h 150"/>
                <a:gd name="T30" fmla="*/ 117 w 157"/>
                <a:gd name="T31" fmla="*/ 55 h 150"/>
                <a:gd name="T32" fmla="*/ 123 w 157"/>
                <a:gd name="T33" fmla="*/ 58 h 150"/>
                <a:gd name="T34" fmla="*/ 126 w 157"/>
                <a:gd name="T35" fmla="*/ 52 h 150"/>
                <a:gd name="T36" fmla="*/ 122 w 157"/>
                <a:gd name="T37" fmla="*/ 42 h 150"/>
                <a:gd name="T38" fmla="*/ 155 w 157"/>
                <a:gd name="T39" fmla="*/ 9 h 150"/>
                <a:gd name="T40" fmla="*/ 155 w 157"/>
                <a:gd name="T41" fmla="*/ 2 h 150"/>
                <a:gd name="T42" fmla="*/ 149 w 157"/>
                <a:gd name="T43" fmla="*/ 2 h 150"/>
                <a:gd name="T44" fmla="*/ 117 w 157"/>
                <a:gd name="T45" fmla="*/ 34 h 150"/>
                <a:gd name="T46" fmla="*/ 66 w 157"/>
                <a:gd name="T47" fmla="*/ 8 h 150"/>
                <a:gd name="T48" fmla="*/ 25 w 157"/>
                <a:gd name="T49" fmla="*/ 23 h 150"/>
                <a:gd name="T50" fmla="*/ 8 w 157"/>
                <a:gd name="T51" fmla="*/ 7 h 150"/>
                <a:gd name="T52" fmla="*/ 2 w 157"/>
                <a:gd name="T53" fmla="*/ 7 h 150"/>
                <a:gd name="T54" fmla="*/ 2 w 157"/>
                <a:gd name="T55" fmla="*/ 13 h 150"/>
                <a:gd name="T56" fmla="*/ 19 w 157"/>
                <a:gd name="T57" fmla="*/ 30 h 150"/>
                <a:gd name="T58" fmla="*/ 3 w 157"/>
                <a:gd name="T59" fmla="*/ 72 h 150"/>
                <a:gd name="T60" fmla="*/ 28 w 157"/>
                <a:gd name="T61" fmla="*/ 123 h 150"/>
                <a:gd name="T62" fmla="*/ 9 w 157"/>
                <a:gd name="T63" fmla="*/ 142 h 150"/>
                <a:gd name="T64" fmla="*/ 9 w 157"/>
                <a:gd name="T65" fmla="*/ 148 h 150"/>
                <a:gd name="T66" fmla="*/ 12 w 157"/>
                <a:gd name="T67" fmla="*/ 150 h 150"/>
                <a:gd name="T68" fmla="*/ 16 w 157"/>
                <a:gd name="T69" fmla="*/ 148 h 150"/>
                <a:gd name="T70" fmla="*/ 36 w 157"/>
                <a:gd name="T71" fmla="*/ 128 h 150"/>
                <a:gd name="T72" fmla="*/ 66 w 157"/>
                <a:gd name="T73" fmla="*/ 135 h 150"/>
                <a:gd name="T74" fmla="*/ 108 w 157"/>
                <a:gd name="T75" fmla="*/ 11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7" h="150">
                  <a:moveTo>
                    <a:pt x="108" y="119"/>
                  </a:moveTo>
                  <a:cubicBezTo>
                    <a:pt x="133" y="144"/>
                    <a:pt x="133" y="144"/>
                    <a:pt x="133" y="144"/>
                  </a:cubicBezTo>
                  <a:cubicBezTo>
                    <a:pt x="134" y="145"/>
                    <a:pt x="135" y="145"/>
                    <a:pt x="136" y="145"/>
                  </a:cubicBezTo>
                  <a:cubicBezTo>
                    <a:pt x="137" y="145"/>
                    <a:pt x="138" y="145"/>
                    <a:pt x="139" y="144"/>
                  </a:cubicBezTo>
                  <a:cubicBezTo>
                    <a:pt x="141" y="142"/>
                    <a:pt x="141" y="140"/>
                    <a:pt x="139" y="138"/>
                  </a:cubicBezTo>
                  <a:cubicBezTo>
                    <a:pt x="114" y="113"/>
                    <a:pt x="114" y="113"/>
                    <a:pt x="114" y="113"/>
                  </a:cubicBezTo>
                  <a:cubicBezTo>
                    <a:pt x="122" y="103"/>
                    <a:pt x="127" y="92"/>
                    <a:pt x="129" y="79"/>
                  </a:cubicBezTo>
                  <a:cubicBezTo>
                    <a:pt x="129" y="77"/>
                    <a:pt x="127" y="75"/>
                    <a:pt x="125" y="74"/>
                  </a:cubicBezTo>
                  <a:cubicBezTo>
                    <a:pt x="122" y="74"/>
                    <a:pt x="120" y="76"/>
                    <a:pt x="120" y="78"/>
                  </a:cubicBezTo>
                  <a:cubicBezTo>
                    <a:pt x="116" y="106"/>
                    <a:pt x="93" y="126"/>
                    <a:pt x="66" y="126"/>
                  </a:cubicBezTo>
                  <a:cubicBezTo>
                    <a:pt x="56" y="126"/>
                    <a:pt x="47" y="124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8" y="118"/>
                    <a:pt x="38" y="118"/>
                    <a:pt x="37" y="118"/>
                  </a:cubicBezTo>
                  <a:cubicBezTo>
                    <a:pt x="22" y="108"/>
                    <a:pt x="12" y="91"/>
                    <a:pt x="12" y="72"/>
                  </a:cubicBezTo>
                  <a:cubicBezTo>
                    <a:pt x="12" y="42"/>
                    <a:pt x="36" y="17"/>
                    <a:pt x="66" y="17"/>
                  </a:cubicBezTo>
                  <a:cubicBezTo>
                    <a:pt x="89" y="17"/>
                    <a:pt x="110" y="32"/>
                    <a:pt x="117" y="55"/>
                  </a:cubicBezTo>
                  <a:cubicBezTo>
                    <a:pt x="118" y="57"/>
                    <a:pt x="121" y="58"/>
                    <a:pt x="123" y="58"/>
                  </a:cubicBezTo>
                  <a:cubicBezTo>
                    <a:pt x="125" y="57"/>
                    <a:pt x="127" y="54"/>
                    <a:pt x="126" y="52"/>
                  </a:cubicBezTo>
                  <a:cubicBezTo>
                    <a:pt x="125" y="49"/>
                    <a:pt x="123" y="45"/>
                    <a:pt x="122" y="42"/>
                  </a:cubicBezTo>
                  <a:cubicBezTo>
                    <a:pt x="155" y="9"/>
                    <a:pt x="155" y="9"/>
                    <a:pt x="155" y="9"/>
                  </a:cubicBezTo>
                  <a:cubicBezTo>
                    <a:pt x="157" y="7"/>
                    <a:pt x="157" y="4"/>
                    <a:pt x="155" y="2"/>
                  </a:cubicBezTo>
                  <a:cubicBezTo>
                    <a:pt x="154" y="0"/>
                    <a:pt x="151" y="0"/>
                    <a:pt x="149" y="2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05" y="18"/>
                    <a:pt x="86" y="8"/>
                    <a:pt x="66" y="8"/>
                  </a:cubicBezTo>
                  <a:cubicBezTo>
                    <a:pt x="50" y="8"/>
                    <a:pt x="36" y="14"/>
                    <a:pt x="25" y="2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5"/>
                    <a:pt x="4" y="5"/>
                    <a:pt x="2" y="7"/>
                  </a:cubicBezTo>
                  <a:cubicBezTo>
                    <a:pt x="0" y="8"/>
                    <a:pt x="0" y="11"/>
                    <a:pt x="2" y="1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9" y="41"/>
                    <a:pt x="3" y="56"/>
                    <a:pt x="3" y="72"/>
                  </a:cubicBezTo>
                  <a:cubicBezTo>
                    <a:pt x="3" y="93"/>
                    <a:pt x="13" y="111"/>
                    <a:pt x="28" y="123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8" y="144"/>
                    <a:pt x="8" y="147"/>
                    <a:pt x="9" y="148"/>
                  </a:cubicBezTo>
                  <a:cubicBezTo>
                    <a:pt x="10" y="149"/>
                    <a:pt x="11" y="150"/>
                    <a:pt x="12" y="150"/>
                  </a:cubicBezTo>
                  <a:cubicBezTo>
                    <a:pt x="14" y="150"/>
                    <a:pt x="15" y="149"/>
                    <a:pt x="16" y="148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5" y="133"/>
                    <a:pt x="55" y="135"/>
                    <a:pt x="66" y="135"/>
                  </a:cubicBezTo>
                  <a:cubicBezTo>
                    <a:pt x="82" y="135"/>
                    <a:pt x="97" y="129"/>
                    <a:pt x="108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52"/>
            <p:cNvSpPr>
              <a:spLocks noEditPoints="1"/>
            </p:cNvSpPr>
            <p:nvPr/>
          </p:nvSpPr>
          <p:spPr bwMode="auto">
            <a:xfrm>
              <a:off x="6422052" y="1201738"/>
              <a:ext cx="49213" cy="87313"/>
            </a:xfrm>
            <a:custGeom>
              <a:avLst/>
              <a:gdLst>
                <a:gd name="T0" fmla="*/ 21 w 37"/>
                <a:gd name="T1" fmla="*/ 67 h 67"/>
                <a:gd name="T2" fmla="*/ 21 w 37"/>
                <a:gd name="T3" fmla="*/ 57 h 67"/>
                <a:gd name="T4" fmla="*/ 33 w 37"/>
                <a:gd name="T5" fmla="*/ 53 h 67"/>
                <a:gd name="T6" fmla="*/ 37 w 37"/>
                <a:gd name="T7" fmla="*/ 43 h 67"/>
                <a:gd name="T8" fmla="*/ 37 w 37"/>
                <a:gd name="T9" fmla="*/ 40 h 67"/>
                <a:gd name="T10" fmla="*/ 34 w 37"/>
                <a:gd name="T11" fmla="*/ 31 h 67"/>
                <a:gd name="T12" fmla="*/ 23 w 37"/>
                <a:gd name="T13" fmla="*/ 28 h 67"/>
                <a:gd name="T14" fmla="*/ 21 w 37"/>
                <a:gd name="T15" fmla="*/ 28 h 67"/>
                <a:gd name="T16" fmla="*/ 21 w 37"/>
                <a:gd name="T17" fmla="*/ 11 h 67"/>
                <a:gd name="T18" fmla="*/ 34 w 37"/>
                <a:gd name="T19" fmla="*/ 12 h 67"/>
                <a:gd name="T20" fmla="*/ 34 w 37"/>
                <a:gd name="T21" fmla="*/ 7 h 67"/>
                <a:gd name="T22" fmla="*/ 21 w 37"/>
                <a:gd name="T23" fmla="*/ 6 h 67"/>
                <a:gd name="T24" fmla="*/ 21 w 37"/>
                <a:gd name="T25" fmla="*/ 0 h 67"/>
                <a:gd name="T26" fmla="*/ 16 w 37"/>
                <a:gd name="T27" fmla="*/ 0 h 67"/>
                <a:gd name="T28" fmla="*/ 16 w 37"/>
                <a:gd name="T29" fmla="*/ 6 h 67"/>
                <a:gd name="T30" fmla="*/ 4 w 37"/>
                <a:gd name="T31" fmla="*/ 9 h 67"/>
                <a:gd name="T32" fmla="*/ 0 w 37"/>
                <a:gd name="T33" fmla="*/ 18 h 67"/>
                <a:gd name="T34" fmla="*/ 0 w 37"/>
                <a:gd name="T35" fmla="*/ 21 h 67"/>
                <a:gd name="T36" fmla="*/ 3 w 37"/>
                <a:gd name="T37" fmla="*/ 30 h 67"/>
                <a:gd name="T38" fmla="*/ 14 w 37"/>
                <a:gd name="T39" fmla="*/ 33 h 67"/>
                <a:gd name="T40" fmla="*/ 16 w 37"/>
                <a:gd name="T41" fmla="*/ 33 h 67"/>
                <a:gd name="T42" fmla="*/ 16 w 37"/>
                <a:gd name="T43" fmla="*/ 51 h 67"/>
                <a:gd name="T44" fmla="*/ 12 w 37"/>
                <a:gd name="T45" fmla="*/ 51 h 67"/>
                <a:gd name="T46" fmla="*/ 8 w 37"/>
                <a:gd name="T47" fmla="*/ 51 h 67"/>
                <a:gd name="T48" fmla="*/ 4 w 37"/>
                <a:gd name="T49" fmla="*/ 50 h 67"/>
                <a:gd name="T50" fmla="*/ 1 w 37"/>
                <a:gd name="T51" fmla="*/ 50 h 67"/>
                <a:gd name="T52" fmla="*/ 1 w 37"/>
                <a:gd name="T53" fmla="*/ 56 h 67"/>
                <a:gd name="T54" fmla="*/ 16 w 37"/>
                <a:gd name="T55" fmla="*/ 57 h 67"/>
                <a:gd name="T56" fmla="*/ 16 w 37"/>
                <a:gd name="T57" fmla="*/ 67 h 67"/>
                <a:gd name="T58" fmla="*/ 21 w 37"/>
                <a:gd name="T59" fmla="*/ 67 h 67"/>
                <a:gd name="T60" fmla="*/ 21 w 37"/>
                <a:gd name="T61" fmla="*/ 33 h 67"/>
                <a:gd name="T62" fmla="*/ 28 w 37"/>
                <a:gd name="T63" fmla="*/ 35 h 67"/>
                <a:gd name="T64" fmla="*/ 29 w 37"/>
                <a:gd name="T65" fmla="*/ 39 h 67"/>
                <a:gd name="T66" fmla="*/ 29 w 37"/>
                <a:gd name="T67" fmla="*/ 45 h 67"/>
                <a:gd name="T68" fmla="*/ 27 w 37"/>
                <a:gd name="T69" fmla="*/ 50 h 67"/>
                <a:gd name="T70" fmla="*/ 21 w 37"/>
                <a:gd name="T71" fmla="*/ 51 h 67"/>
                <a:gd name="T72" fmla="*/ 21 w 37"/>
                <a:gd name="T73" fmla="*/ 33 h 67"/>
                <a:gd name="T74" fmla="*/ 10 w 37"/>
                <a:gd name="T75" fmla="*/ 26 h 67"/>
                <a:gd name="T76" fmla="*/ 8 w 37"/>
                <a:gd name="T77" fmla="*/ 23 h 67"/>
                <a:gd name="T78" fmla="*/ 8 w 37"/>
                <a:gd name="T79" fmla="*/ 18 h 67"/>
                <a:gd name="T80" fmla="*/ 9 w 37"/>
                <a:gd name="T81" fmla="*/ 13 h 67"/>
                <a:gd name="T82" fmla="*/ 16 w 37"/>
                <a:gd name="T83" fmla="*/ 11 h 67"/>
                <a:gd name="T84" fmla="*/ 16 w 37"/>
                <a:gd name="T85" fmla="*/ 28 h 67"/>
                <a:gd name="T86" fmla="*/ 10 w 37"/>
                <a:gd name="T87" fmla="*/ 2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" h="67">
                  <a:moveTo>
                    <a:pt x="21" y="67"/>
                  </a:moveTo>
                  <a:cubicBezTo>
                    <a:pt x="21" y="57"/>
                    <a:pt x="21" y="57"/>
                    <a:pt x="21" y="57"/>
                  </a:cubicBezTo>
                  <a:cubicBezTo>
                    <a:pt x="26" y="57"/>
                    <a:pt x="30" y="55"/>
                    <a:pt x="33" y="53"/>
                  </a:cubicBezTo>
                  <a:cubicBezTo>
                    <a:pt x="36" y="51"/>
                    <a:pt x="37" y="47"/>
                    <a:pt x="37" y="43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36"/>
                    <a:pt x="36" y="32"/>
                    <a:pt x="34" y="31"/>
                  </a:cubicBezTo>
                  <a:cubicBezTo>
                    <a:pt x="32" y="29"/>
                    <a:pt x="29" y="28"/>
                    <a:pt x="23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3" y="11"/>
                    <a:pt x="27" y="12"/>
                    <a:pt x="34" y="12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29" y="6"/>
                    <a:pt x="24" y="6"/>
                    <a:pt x="21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0" y="6"/>
                    <a:pt x="6" y="7"/>
                    <a:pt x="4" y="9"/>
                  </a:cubicBezTo>
                  <a:cubicBezTo>
                    <a:pt x="2" y="11"/>
                    <a:pt x="0" y="14"/>
                    <a:pt x="0" y="1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5"/>
                    <a:pt x="1" y="28"/>
                    <a:pt x="3" y="30"/>
                  </a:cubicBezTo>
                  <a:cubicBezTo>
                    <a:pt x="5" y="32"/>
                    <a:pt x="9" y="33"/>
                    <a:pt x="14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5" y="51"/>
                    <a:pt x="13" y="51"/>
                    <a:pt x="12" y="51"/>
                  </a:cubicBezTo>
                  <a:cubicBezTo>
                    <a:pt x="10" y="51"/>
                    <a:pt x="9" y="51"/>
                    <a:pt x="8" y="51"/>
                  </a:cubicBezTo>
                  <a:cubicBezTo>
                    <a:pt x="7" y="51"/>
                    <a:pt x="6" y="50"/>
                    <a:pt x="4" y="50"/>
                  </a:cubicBezTo>
                  <a:cubicBezTo>
                    <a:pt x="2" y="50"/>
                    <a:pt x="1" y="50"/>
                    <a:pt x="1" y="50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8" y="57"/>
                    <a:pt x="13" y="57"/>
                    <a:pt x="16" y="57"/>
                  </a:cubicBezTo>
                  <a:cubicBezTo>
                    <a:pt x="16" y="67"/>
                    <a:pt x="16" y="67"/>
                    <a:pt x="16" y="67"/>
                  </a:cubicBezTo>
                  <a:lnTo>
                    <a:pt x="21" y="67"/>
                  </a:lnTo>
                  <a:close/>
                  <a:moveTo>
                    <a:pt x="21" y="33"/>
                  </a:moveTo>
                  <a:cubicBezTo>
                    <a:pt x="24" y="33"/>
                    <a:pt x="26" y="34"/>
                    <a:pt x="28" y="35"/>
                  </a:cubicBezTo>
                  <a:cubicBezTo>
                    <a:pt x="29" y="36"/>
                    <a:pt x="29" y="37"/>
                    <a:pt x="29" y="39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7"/>
                    <a:pt x="29" y="49"/>
                    <a:pt x="27" y="50"/>
                  </a:cubicBezTo>
                  <a:cubicBezTo>
                    <a:pt x="26" y="50"/>
                    <a:pt x="24" y="51"/>
                    <a:pt x="21" y="51"/>
                  </a:cubicBezTo>
                  <a:lnTo>
                    <a:pt x="21" y="33"/>
                  </a:lnTo>
                  <a:close/>
                  <a:moveTo>
                    <a:pt x="10" y="26"/>
                  </a:moveTo>
                  <a:cubicBezTo>
                    <a:pt x="8" y="26"/>
                    <a:pt x="8" y="24"/>
                    <a:pt x="8" y="23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5"/>
                    <a:pt x="8" y="14"/>
                    <a:pt x="9" y="13"/>
                  </a:cubicBezTo>
                  <a:cubicBezTo>
                    <a:pt x="11" y="12"/>
                    <a:pt x="13" y="11"/>
                    <a:pt x="16" y="11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3" y="28"/>
                    <a:pt x="11" y="27"/>
                    <a:pt x="10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" name="Group 488"/>
          <p:cNvGrpSpPr/>
          <p:nvPr/>
        </p:nvGrpSpPr>
        <p:grpSpPr>
          <a:xfrm>
            <a:off x="6388918" y="973862"/>
            <a:ext cx="346845" cy="327457"/>
            <a:chOff x="-2103438" y="3878264"/>
            <a:chExt cx="371475" cy="371475"/>
          </a:xfrm>
          <a:solidFill>
            <a:schemeClr val="tx2"/>
          </a:solidFill>
        </p:grpSpPr>
        <p:sp>
          <p:nvSpPr>
            <p:cNvPr id="52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317499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>
            <a:off x="6388918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68" name="Chart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3957932"/>
              </p:ext>
            </p:extLst>
          </p:nvPr>
        </p:nvGraphicFramePr>
        <p:xfrm>
          <a:off x="2089150" y="3527424"/>
          <a:ext cx="3002753" cy="101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88" name="TextBox 87"/>
          <p:cNvSpPr txBox="1"/>
          <p:nvPr/>
        </p:nvSpPr>
        <p:spPr>
          <a:xfrm>
            <a:off x="6400232" y="1464767"/>
            <a:ext cx="5460686" cy="374009"/>
          </a:xfrm>
          <a:prstGeom prst="rect">
            <a:avLst/>
          </a:prstGeom>
        </p:spPr>
        <p:txBody>
          <a:bodyPr vert="horz" wrap="square" lIns="36000" tIns="72000" rIns="36000" bIns="72000" rtlCol="0" anchor="t" anchorCtr="0">
            <a:noAutofit/>
          </a:bodyPr>
          <a:lstStyle/>
          <a:p>
            <a:pPr marL="180000" indent="-180000">
              <a:spcAft>
                <a:spcPts val="300"/>
              </a:spcAft>
              <a:buClr>
                <a:srgbClr val="F0720A"/>
              </a:buClr>
              <a:buFont typeface="Arial" panose="020B0604020202020204" pitchFamily="34" charset="0"/>
              <a:buChar char="•"/>
            </a:pPr>
            <a:r>
              <a:rPr lang="ru-RU" sz="1200" b="0" dirty="0" smtClean="0"/>
              <a:t>Объем </a:t>
            </a:r>
            <a:r>
              <a:rPr lang="ru-RU" sz="1200" dirty="0" smtClean="0"/>
              <a:t>оказанных </a:t>
            </a:r>
            <a:r>
              <a:rPr lang="ru-RU" sz="1200" b="0" dirty="0" smtClean="0"/>
              <a:t>услуг за 1 полугодие 2026 года 26 515 Гкал</a:t>
            </a:r>
          </a:p>
        </p:txBody>
      </p:sp>
      <p:graphicFrame>
        <p:nvGraphicFramePr>
          <p:cNvPr id="99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51610865"/>
              </p:ext>
            </p:extLst>
          </p:nvPr>
        </p:nvGraphicFramePr>
        <p:xfrm>
          <a:off x="7621588" y="2274888"/>
          <a:ext cx="2838450" cy="283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49" name="Прямоугольник 148"/>
          <p:cNvSpPr/>
          <p:nvPr>
            <p:custDataLst>
              <p:tags r:id="rId9"/>
            </p:custDataLst>
          </p:nvPr>
        </p:nvSpPr>
        <p:spPr bwMode="auto">
          <a:xfrm>
            <a:off x="10410825" y="3886200"/>
            <a:ext cx="14954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7DCF761-7137-4416-A426-E260211AF768}" type="datetime'КГ''''П &quot;ТЕ''''''П''''''Л''ОСЕР''''ВИ''С'''''' - ''А''к''с''у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КГП "ТЕПЛОСЕРВИС - Аксу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1" name="Прямоугольник 150"/>
          <p:cNvSpPr/>
          <p:nvPr>
            <p:custDataLst>
              <p:tags r:id="rId10"/>
            </p:custDataLst>
          </p:nvPr>
        </p:nvSpPr>
        <p:spPr bwMode="auto">
          <a:xfrm>
            <a:off x="7002465" y="4673599"/>
            <a:ext cx="1042986" cy="30004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D0258BE-1D07-4370-9FA0-0B72107C1580}" type="datetime'ТОО'' ''&quot;''''ГРЭС''С''''''''''Т''''''Р''О''Й&quot;''''''''''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ТОО "ГРЭССТРОЙ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2" name="Прямоугольник 151"/>
          <p:cNvSpPr/>
          <p:nvPr>
            <p:custDataLst>
              <p:tags r:id="rId11"/>
            </p:custDataLst>
          </p:nvPr>
        </p:nvSpPr>
        <p:spPr bwMode="auto">
          <a:xfrm>
            <a:off x="7040803" y="3561108"/>
            <a:ext cx="619125" cy="278531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A5DF4EA-4B5C-4027-8CE3-29EF6E0DC862}" type="datetime''' ''''АО'''''''''''' ''''''''''&quot;П''''РЭК''&quot;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АО "ПРЭК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3" name="Прямоугольник 152"/>
          <p:cNvSpPr/>
          <p:nvPr>
            <p:custDataLst>
              <p:tags r:id="rId12"/>
            </p:custDataLst>
          </p:nvPr>
        </p:nvSpPr>
        <p:spPr bwMode="auto">
          <a:xfrm>
            <a:off x="6758453" y="2642768"/>
            <a:ext cx="1112838" cy="74302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B9D2E68-622D-4F53-9DE9-A7EC276D35C2}" type="datetime''' ''Т''''''ОО &quot;ТЕ''ПЛИЧ''''НЫ''Й'' ''&#10;КОМПЛЕК''''С А''КСУ&quot;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ТОО "ТЕПЛИЧНЫЙ 
КОМПЛЕКС АКСУ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4" name="Прямоугольник 153"/>
          <p:cNvSpPr/>
          <p:nvPr>
            <p:custDataLst>
              <p:tags r:id="rId13"/>
            </p:custDataLst>
          </p:nvPr>
        </p:nvSpPr>
        <p:spPr bwMode="auto">
          <a:xfrm>
            <a:off x="6378129" y="4126429"/>
            <a:ext cx="1428801" cy="147786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tx1"/>
                </a:solidFill>
              </a:rPr>
              <a:t>ТОО «ГИДРОСЕРВИС-РК»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5" name="Прямоугольник 154"/>
          <p:cNvSpPr/>
          <p:nvPr>
            <p:custDataLst>
              <p:tags r:id="rId14"/>
            </p:custDataLst>
          </p:nvPr>
        </p:nvSpPr>
        <p:spPr bwMode="auto">
          <a:xfrm>
            <a:off x="8831263" y="2195514"/>
            <a:ext cx="98425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71E0082-C61D-40E6-BC9A-FF7889E1BEAA}" type="datetime' ''''Т''О''О ''&quot;''''''''LAVA''''''''''''''''''G''''G''I''O&quot;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 ТОО "LAVAGGIO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>
            <p:custDataLst>
              <p:tags r:id="rId15"/>
            </p:custDataLst>
          </p:nvPr>
        </p:nvSpPr>
        <p:spPr bwMode="gray">
          <a:xfrm rot="10538303" flipV="1">
            <a:off x="7807381" y="4045397"/>
            <a:ext cx="370629" cy="94637"/>
          </a:xfrm>
          <a:prstGeom prst="rect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tx1"/>
                </a:solidFill>
              </a:rPr>
              <a:t>2088</a:t>
            </a:r>
            <a:r>
              <a:rPr lang="ru-RU" altLang="en-US" sz="900" dirty="0" smtClean="0">
                <a:solidFill>
                  <a:schemeClr val="tx1"/>
                </a:solidFill>
              </a:rPr>
              <a:t/>
            </a:r>
            <a:br>
              <a:rPr lang="ru-RU" altLang="en-US" sz="900" dirty="0" smtClean="0">
                <a:solidFill>
                  <a:schemeClr val="tx1"/>
                </a:solidFill>
              </a:rPr>
            </a:br>
            <a:r>
              <a:rPr lang="ru-RU" altLang="en-US" sz="900" dirty="0" smtClean="0">
                <a:solidFill>
                  <a:schemeClr val="tx1"/>
                </a:solidFill>
              </a:rPr>
              <a:t>(8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>
            <p:custDataLst>
              <p:tags r:id="rId16"/>
            </p:custDataLst>
          </p:nvPr>
        </p:nvSpPr>
        <p:spPr bwMode="gray">
          <a:xfrm>
            <a:off x="8897938" y="2682874"/>
            <a:ext cx="273050" cy="247650"/>
          </a:xfrm>
          <a:prstGeom prst="rect">
            <a:avLst/>
          </a:prstGeom>
          <a:solidFill>
            <a:srgbClr val="DFE5E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BC317D8-184E-4B46-9526-EF6D94430772}" type="datetime'''''''6''''''''''''''''''''''''''''''0'">
              <a:rPr lang="ru-RU" altLang="en-US" sz="900" smtClean="0">
                <a:solidFill>
                  <a:schemeClr val="tx1"/>
                </a:solidFill>
              </a:rPr>
              <a:pPr/>
              <a:t>60</a:t>
            </a:fld>
            <a:r>
              <a:rPr lang="ru-RU" altLang="en-US" sz="900" dirty="0" smtClean="0">
                <a:solidFill>
                  <a:schemeClr val="tx1"/>
                </a:solidFill>
              </a:rPr>
              <a:t/>
            </a:r>
            <a:br>
              <a:rPr lang="ru-RU" altLang="en-US" sz="900" dirty="0" smtClean="0">
                <a:solidFill>
                  <a:schemeClr val="tx1"/>
                </a:solidFill>
              </a:rPr>
            </a:br>
            <a:r>
              <a:rPr lang="ru-RU" altLang="en-US" sz="900" dirty="0" smtClean="0">
                <a:solidFill>
                  <a:schemeClr val="tx1"/>
                </a:solidFill>
              </a:rPr>
              <a:t>(</a:t>
            </a:r>
            <a:fld id="{9A7339CC-F491-48B0-A0D6-A7A2B33AB60A}" type="datetime'''''''''''''''''''''''''''''''''''0''''''''''%'''">
              <a:rPr lang="ru-RU" altLang="en-US" sz="900" smtClean="0">
                <a:solidFill>
                  <a:schemeClr val="tx1"/>
                </a:solidFill>
              </a:rPr>
              <a:pPr/>
              <a:t>0%</a:t>
            </a:fld>
            <a:r>
              <a:rPr lang="ru-RU" altLang="en-US" sz="900" dirty="0" smtClean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17"/>
            </p:custDataLst>
          </p:nvPr>
        </p:nvSpPr>
        <p:spPr bwMode="gray">
          <a:xfrm>
            <a:off x="9958388" y="3775074"/>
            <a:ext cx="3810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bg1"/>
                </a:solidFill>
              </a:rPr>
              <a:t>15623</a:t>
            </a:r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59%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18"/>
            </p:custDataLst>
          </p:nvPr>
        </p:nvSpPr>
        <p:spPr bwMode="gray">
          <a:xfrm>
            <a:off x="8045450" y="4406630"/>
            <a:ext cx="477041" cy="26697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bg1"/>
                </a:solidFill>
              </a:rPr>
              <a:t>1881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4D866C16-7BED-46DC-81F1-FC5DF8C73E74}" type="datetime'''''''''''''''''''''7''''''''''''''''''''''''''''''%'''''''">
              <a:rPr lang="ru-RU" altLang="en-US" sz="900" smtClean="0">
                <a:solidFill>
                  <a:schemeClr val="bg1"/>
                </a:solidFill>
              </a:rPr>
              <a:pPr/>
              <a:t>7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19"/>
            </p:custDataLst>
          </p:nvPr>
        </p:nvSpPr>
        <p:spPr bwMode="gray">
          <a:xfrm>
            <a:off x="8045450" y="2930524"/>
            <a:ext cx="446796" cy="248889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bg1"/>
                </a:solidFill>
              </a:rPr>
              <a:t>6227(24%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20"/>
            </p:custDataLst>
          </p:nvPr>
        </p:nvSpPr>
        <p:spPr bwMode="gray">
          <a:xfrm>
            <a:off x="7814468" y="3534380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bg1"/>
                </a:solidFill>
              </a:rPr>
              <a:t>636</a:t>
            </a:r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2%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57" name="Freeform 140"/>
          <p:cNvSpPr/>
          <p:nvPr/>
        </p:nvSpPr>
        <p:spPr>
          <a:xfrm>
            <a:off x="6293642" y="1449911"/>
            <a:ext cx="5699657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endParaRPr lang="da-DK" sz="1200" dirty="0">
              <a:solidFill>
                <a:schemeClr val="accent1"/>
              </a:solidFill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10731260" y="2544792"/>
            <a:ext cx="974785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/>
              <a:t>Гкал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398541219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15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95" name="Слайд think-cell" r:id="rId7" imgW="594" imgH="595" progId="TCLayout.ActiveDocument.1">
                  <p:embed/>
                </p:oleObj>
              </mc:Choice>
              <mc:Fallback>
                <p:oleObj name="Слайд think-cell" r:id="rId7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b="0" dirty="0" smtClean="0">
                <a:solidFill>
                  <a:schemeClr val="accent1"/>
                </a:solidFill>
              </a:rPr>
              <a:t>ЕЭК: </a:t>
            </a:r>
            <a:r>
              <a:rPr lang="ru-RU" dirty="0"/>
              <a:t>Информация о проводимой работе с потребителями регулируемых услуг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8795043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9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63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4526" y="2850144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АО «ЕЭК»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gray">
          <a:xfrm>
            <a:off x="4371650" y="1423988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Предоставление услуг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gray">
          <a:xfrm>
            <a:off x="7110317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Тариф на услугу 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2946400" y="1423988"/>
            <a:ext cx="1438275" cy="3671888"/>
            <a:chOff x="2432720" y="2258870"/>
            <a:chExt cx="1438524" cy="3672000"/>
          </a:xfrm>
        </p:grpSpPr>
        <p:sp>
          <p:nvSpPr>
            <p:cNvPr id="14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15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38"/>
          <p:cNvSpPr>
            <a:spLocks noChangeArrowheads="1"/>
          </p:cNvSpPr>
          <p:nvPr/>
        </p:nvSpPr>
        <p:spPr bwMode="gray">
          <a:xfrm>
            <a:off x="2638425" y="2876550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smtClean="0">
                <a:solidFill>
                  <a:schemeClr val="lt1"/>
                </a:solidFill>
              </a:rPr>
              <a:t>Регулируемая деятельность</a:t>
            </a:r>
            <a:endParaRPr lang="de-DE" altLang="de-DE" sz="1050" b="0" dirty="0" smtClean="0">
              <a:solidFill>
                <a:schemeClr val="lt1"/>
              </a:solidFill>
            </a:endParaRPr>
          </a:p>
        </p:txBody>
      </p:sp>
      <p:sp>
        <p:nvSpPr>
          <p:cNvPr id="17" name="Rectangle 38"/>
          <p:cNvSpPr>
            <a:spLocks noChangeArrowheads="1"/>
          </p:cNvSpPr>
          <p:nvPr/>
        </p:nvSpPr>
        <p:spPr bwMode="gray">
          <a:xfrm>
            <a:off x="2638425" y="334327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Основ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18" name="Rectangle 38"/>
          <p:cNvSpPr>
            <a:spLocks noChangeArrowheads="1"/>
          </p:cNvSpPr>
          <p:nvPr/>
        </p:nvSpPr>
        <p:spPr bwMode="gray">
          <a:xfrm>
            <a:off x="2638425" y="384492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И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19" name="Gerade Verbindung 14"/>
          <p:cNvCxnSpPr/>
          <p:nvPr/>
        </p:nvCxnSpPr>
        <p:spPr bwMode="auto">
          <a:xfrm>
            <a:off x="4475162" y="1198563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20" name="Rectangle 34"/>
          <p:cNvSpPr>
            <a:spLocks noChangeArrowheads="1"/>
          </p:cNvSpPr>
          <p:nvPr/>
        </p:nvSpPr>
        <p:spPr bwMode="auto">
          <a:xfrm>
            <a:off x="4475162" y="692150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smtClean="0">
                <a:solidFill>
                  <a:srgbClr val="000000"/>
                </a:solidFill>
              </a:rPr>
              <a:t>Работа с потребителями</a:t>
            </a:r>
            <a:endParaRPr lang="en-GB" altLang="de-DE" sz="1600" b="1" dirty="0" smtClean="0">
              <a:solidFill>
                <a:srgbClr val="000000"/>
              </a:solidFill>
            </a:endParaRPr>
          </a:p>
        </p:txBody>
      </p:sp>
      <p:sp>
        <p:nvSpPr>
          <p:cNvPr id="21" name="Rounded Rectangle 526"/>
          <p:cNvSpPr/>
          <p:nvPr/>
        </p:nvSpPr>
        <p:spPr bwMode="gray">
          <a:xfrm>
            <a:off x="4414780" y="1874838"/>
            <a:ext cx="2624373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беспечивается </a:t>
            </a:r>
            <a:r>
              <a:rPr lang="ru-RU" sz="1400" dirty="0"/>
              <a:t>всеобщее обслуживание в соответствии с требованиями к качеству предоставляемых услуг по тарифам, утвержденным уполномоченным органом. 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существляется в </a:t>
            </a:r>
            <a:r>
              <a:rPr lang="ru-RU" sz="1400" dirty="0"/>
              <a:t>соответствии с требованиями заключенных Сторонами  договоров и принятых договорных взаимных обязательств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sp>
        <p:nvSpPr>
          <p:cNvPr id="22" name="Rounded Rectangle 526"/>
          <p:cNvSpPr/>
          <p:nvPr/>
        </p:nvSpPr>
        <p:spPr bwMode="gray">
          <a:xfrm>
            <a:off x="7110316" y="1874838"/>
            <a:ext cx="2415309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участие независимых экспертов, общественных организаций и потребителей в процессе </a:t>
            </a:r>
            <a:r>
              <a:rPr lang="ru-RU" sz="1400" dirty="0" smtClean="0"/>
              <a:t>оценки проекта </a:t>
            </a:r>
            <a:endParaRPr lang="ru-RU" sz="1400" dirty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участие в публичных слушаниях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информирование потребителей об изменении тарифов в сроки, предусмотренные законодательством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834311" y="6321425"/>
            <a:ext cx="10602862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1 полугодие  2026 года отсутствуют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34311" y="5377626"/>
            <a:ext cx="110326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За 1 полугодие 2026 года отсутствовали:</a:t>
            </a:r>
          </a:p>
          <a:p>
            <a:r>
              <a:rPr lang="ru-RU" sz="1400" dirty="0" smtClean="0"/>
              <a:t>- аварии </a:t>
            </a:r>
            <a:r>
              <a:rPr lang="ru-RU" sz="1400" dirty="0"/>
              <a:t>на оборудовании, задействованного в оказании регулируемых услуг</a:t>
            </a:r>
            <a:r>
              <a:rPr lang="ru-RU" sz="1400" dirty="0" smtClean="0"/>
              <a:t>, </a:t>
            </a:r>
          </a:p>
          <a:p>
            <a:r>
              <a:rPr lang="ru-RU" sz="1400" dirty="0" smtClean="0"/>
              <a:t>- отключения </a:t>
            </a:r>
            <a:r>
              <a:rPr lang="ru-RU" sz="1400" dirty="0"/>
              <a:t>потребителей регулируемых услуг АО «ЕЭК</a:t>
            </a:r>
            <a:r>
              <a:rPr lang="ru-RU" sz="1400" dirty="0" smtClean="0"/>
              <a:t>».</a:t>
            </a:r>
            <a:endParaRPr lang="ru-RU" sz="1400" dirty="0"/>
          </a:p>
        </p:txBody>
      </p:sp>
      <p:sp>
        <p:nvSpPr>
          <p:cNvPr id="25" name="Freeform 223"/>
          <p:cNvSpPr>
            <a:spLocks noEditPoints="1"/>
          </p:cNvSpPr>
          <p:nvPr/>
        </p:nvSpPr>
        <p:spPr bwMode="auto">
          <a:xfrm>
            <a:off x="5888830" y="771075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Rectangle 2"/>
          <p:cNvSpPr/>
          <p:nvPr>
            <p:custDataLst>
              <p:tags r:id="rId4"/>
            </p:custDataLst>
          </p:nvPr>
        </p:nvSpPr>
        <p:spPr bwMode="auto">
          <a:xfrm>
            <a:off x="309563" y="5494338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27" name="Rectangle 2"/>
          <p:cNvSpPr/>
          <p:nvPr>
            <p:custDataLst>
              <p:tags r:id="rId5"/>
            </p:custDataLst>
          </p:nvPr>
        </p:nvSpPr>
        <p:spPr bwMode="auto">
          <a:xfrm>
            <a:off x="309563" y="621665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cxnSp>
        <p:nvCxnSpPr>
          <p:cNvPr id="28" name="Соединительная линия уступом 27"/>
          <p:cNvCxnSpPr/>
          <p:nvPr/>
        </p:nvCxnSpPr>
        <p:spPr>
          <a:xfrm flipV="1">
            <a:off x="2420126" y="3165364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Соединительная линия уступом 28"/>
          <p:cNvCxnSpPr/>
          <p:nvPr/>
        </p:nvCxnSpPr>
        <p:spPr>
          <a:xfrm>
            <a:off x="2420126" y="3350526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>
            <a:stCxn id="17" idx="1"/>
          </p:cNvCxnSpPr>
          <p:nvPr/>
        </p:nvCxnSpPr>
        <p:spPr>
          <a:xfrm flipH="1">
            <a:off x="2535205" y="3540919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Прямоугольник 30"/>
          <p:cNvSpPr/>
          <p:nvPr/>
        </p:nvSpPr>
        <p:spPr bwMode="gray">
          <a:xfrm>
            <a:off x="9286780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Отчеты перед потребителями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32" name="Rounded Rectangle 526"/>
          <p:cNvSpPr/>
          <p:nvPr/>
        </p:nvSpPr>
        <p:spPr bwMode="gray">
          <a:xfrm>
            <a:off x="9463182" y="1874838"/>
            <a:ext cx="2518832" cy="3502788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публикация уведомлений </a:t>
            </a:r>
            <a:r>
              <a:rPr lang="ru-RU" sz="1400" dirty="0"/>
              <a:t>о времени и месте </a:t>
            </a:r>
            <a:r>
              <a:rPr lang="ru-RU" sz="1400" dirty="0" smtClean="0"/>
              <a:t>публичных </a:t>
            </a:r>
            <a:r>
              <a:rPr lang="ru-RU" sz="1400" dirty="0"/>
              <a:t>слушаний </a:t>
            </a:r>
            <a:r>
              <a:rPr lang="ru-RU" sz="1400" dirty="0" smtClean="0"/>
              <a:t>в </a:t>
            </a:r>
            <a:r>
              <a:rPr lang="ru-RU" sz="1400" dirty="0"/>
              <a:t>средствах массовой </a:t>
            </a:r>
            <a:r>
              <a:rPr lang="ru-RU" sz="1400" dirty="0" smtClean="0"/>
              <a:t>информации, с предоставлением ссылки на </a:t>
            </a:r>
            <a:r>
              <a:rPr lang="kk-KZ" sz="1400" dirty="0" smtClean="0"/>
              <a:t>подключение </a:t>
            </a:r>
            <a:r>
              <a:rPr lang="ru-RU" sz="1400" dirty="0"/>
              <a:t>к публичным слушаниям </a:t>
            </a:r>
            <a:r>
              <a:rPr lang="ru-RU" sz="1400" dirty="0" smtClean="0"/>
              <a:t>онлайн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dk1"/>
                </a:solidFill>
              </a:rPr>
              <a:t>размещение обязательной информации в </a:t>
            </a:r>
            <a:r>
              <a:rPr lang="ru-RU" sz="1400" dirty="0"/>
              <a:t>средствах массовой </a:t>
            </a:r>
            <a:r>
              <a:rPr lang="ru-RU" sz="1400" dirty="0" smtClean="0"/>
              <a:t>информации, в том числе на </a:t>
            </a:r>
            <a:r>
              <a:rPr lang="ru-RU" sz="1400" dirty="0" err="1" smtClean="0"/>
              <a:t>интернет-ресурсе</a:t>
            </a:r>
            <a:endParaRPr lang="ru-RU" sz="1400" dirty="0" smtClean="0">
              <a:solidFill>
                <a:schemeClr val="dk1"/>
              </a:solidFill>
            </a:endParaRPr>
          </a:p>
        </p:txBody>
      </p:sp>
      <p:grpSp>
        <p:nvGrpSpPr>
          <p:cNvPr id="33" name="Group 481"/>
          <p:cNvGrpSpPr/>
          <p:nvPr/>
        </p:nvGrpSpPr>
        <p:grpSpPr>
          <a:xfrm>
            <a:off x="387567" y="3304636"/>
            <a:ext cx="369888" cy="369888"/>
            <a:chOff x="-1550988" y="2722564"/>
            <a:chExt cx="369888" cy="369888"/>
          </a:xfrm>
        </p:grpSpPr>
        <p:sp>
          <p:nvSpPr>
            <p:cNvPr id="34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64641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4" name="Object 15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5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54" name="Object 1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" name="Rectangle 15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altLang="ru-RU" dirty="0">
                <a:latin typeface="Arial" pitchFamily="34" charset="0"/>
                <a:cs typeface="Arial" pitchFamily="34" charset="0"/>
              </a:rPr>
              <a:t>Информация о качестве предоставляемых регулируемых услуг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14324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4" name="Google Shape;478;p43"/>
          <p:cNvSpPr/>
          <p:nvPr/>
        </p:nvSpPr>
        <p:spPr>
          <a:xfrm>
            <a:off x="1903164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1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22" name="Google Shape;506;p43"/>
          <p:cNvSpPr txBox="1"/>
          <p:nvPr/>
        </p:nvSpPr>
        <p:spPr>
          <a:xfrm>
            <a:off x="395919" y="2111156"/>
            <a:ext cx="1838050" cy="110799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>
                <a:solidFill>
                  <a:schemeClr val="tx1"/>
                </a:solidFill>
                <a:sym typeface="Open Sans"/>
              </a:rPr>
              <a:t>ГОСТы и СанПиНы: регламентируют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состав и качество питьевой воды, параметры теплоносителя, температурные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режимы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82" name="Google Shape;506;p43"/>
          <p:cNvSpPr txBox="1"/>
          <p:nvPr/>
        </p:nvSpPr>
        <p:spPr>
          <a:xfrm>
            <a:off x="2381608" y="2123043"/>
            <a:ext cx="1573289" cy="73866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равила технической эксплуатации: для инженерных систем и оборудования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314324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9" name="Google Shape;478;p43"/>
          <p:cNvSpPr/>
          <p:nvPr/>
        </p:nvSpPr>
        <p:spPr>
          <a:xfrm>
            <a:off x="1903164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6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01" name="Google Shape;506;p43"/>
          <p:cNvSpPr txBox="1"/>
          <p:nvPr/>
        </p:nvSpPr>
        <p:spPr>
          <a:xfrm>
            <a:off x="433033" y="3919016"/>
            <a:ext cx="1688741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Использование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энергоэффективного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оборудования и технологий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2" name="Google Shape;506;p43"/>
          <p:cNvSpPr txBox="1"/>
          <p:nvPr/>
        </p:nvSpPr>
        <p:spPr>
          <a:xfrm>
            <a:off x="2269413" y="3919016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Контроль потерь воды и тепла на всех этапах доставки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421798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08" name="Google Shape;478;p43"/>
          <p:cNvSpPr/>
          <p:nvPr/>
        </p:nvSpPr>
        <p:spPr>
          <a:xfrm>
            <a:off x="580682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2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0" name="Google Shape;506;p43"/>
          <p:cNvSpPr txBox="1"/>
          <p:nvPr/>
        </p:nvSpPr>
        <p:spPr>
          <a:xfrm>
            <a:off x="433344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Лабораторный анализ воды: проводится регулярно для проверки на соответствие нормам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1" name="Google Shape;506;p43"/>
          <p:cNvSpPr txBox="1"/>
          <p:nvPr/>
        </p:nvSpPr>
        <p:spPr>
          <a:xfrm>
            <a:off x="616982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Мониторинг температур и давления в теплосетях и на выходе из источников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а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421798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16" name="Google Shape;478;p43"/>
          <p:cNvSpPr/>
          <p:nvPr/>
        </p:nvSpPr>
        <p:spPr>
          <a:xfrm>
            <a:off x="580682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5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8" name="Google Shape;506;p43"/>
          <p:cNvSpPr txBox="1"/>
          <p:nvPr/>
        </p:nvSpPr>
        <p:spPr>
          <a:xfrm>
            <a:off x="4333440" y="3936287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Оперативное реагирование на жалобы и обращения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9" name="Google Shape;506;p43"/>
          <p:cNvSpPr txBox="1"/>
          <p:nvPr/>
        </p:nvSpPr>
        <p:spPr>
          <a:xfrm>
            <a:off x="6169820" y="3936287"/>
            <a:ext cx="1688741" cy="1292662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роведение разъяснительной работы и предоставление прозрачной информации об услугах.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812323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24" name="Google Shape;478;p43"/>
          <p:cNvSpPr/>
          <p:nvPr/>
        </p:nvSpPr>
        <p:spPr>
          <a:xfrm>
            <a:off x="971207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3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26" name="Google Shape;506;p43"/>
          <p:cNvSpPr txBox="1"/>
          <p:nvPr/>
        </p:nvSpPr>
        <p:spPr>
          <a:xfrm>
            <a:off x="8235433" y="2111156"/>
            <a:ext cx="1836380" cy="110799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Регулярное техническое обслуживание и ремонт сетей. Модернизация оборудования, замена изношенных труб и теплообменников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27" name="Google Shape;506;p43"/>
          <p:cNvSpPr txBox="1"/>
          <p:nvPr/>
        </p:nvSpPr>
        <p:spPr>
          <a:xfrm>
            <a:off x="10071813" y="2156661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Автоматизация систем управления и диспетчеризация. 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812323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32" name="Google Shape;478;p43"/>
          <p:cNvSpPr/>
          <p:nvPr/>
        </p:nvSpPr>
        <p:spPr>
          <a:xfrm>
            <a:off x="971207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4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34" name="Google Shape;506;p43"/>
          <p:cNvSpPr txBox="1"/>
          <p:nvPr/>
        </p:nvSpPr>
        <p:spPr>
          <a:xfrm>
            <a:off x="8235433" y="3888599"/>
            <a:ext cx="1629499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>
                <a:solidFill>
                  <a:schemeClr val="tx1"/>
                </a:solidFill>
                <a:sym typeface="Open Sans"/>
              </a:rPr>
              <a:t>Подготовка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и сертификация специалистов, работающих на объектах водо- и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оснабжения. Аттестация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35" name="Google Shape;506;p43"/>
          <p:cNvSpPr txBox="1"/>
          <p:nvPr/>
        </p:nvSpPr>
        <p:spPr>
          <a:xfrm>
            <a:off x="10071813" y="3888599"/>
            <a:ext cx="1688741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ериодическое повышение квалификации является обязательным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для ИТР,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мастеров и операторов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cxnSp>
        <p:nvCxnSpPr>
          <p:cNvPr id="140" name="Straight Connector 139"/>
          <p:cNvCxnSpPr>
            <a:stCxn id="5" idx="3"/>
            <a:endCxn id="107" idx="1"/>
          </p:cNvCxnSpPr>
          <p:nvPr/>
        </p:nvCxnSpPr>
        <p:spPr>
          <a:xfrm>
            <a:off x="4070349" y="254572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2" name="Straight Connector 141"/>
          <p:cNvCxnSpPr>
            <a:stCxn id="107" idx="3"/>
            <a:endCxn id="123" idx="1"/>
          </p:cNvCxnSpPr>
          <p:nvPr/>
        </p:nvCxnSpPr>
        <p:spPr>
          <a:xfrm>
            <a:off x="7974013" y="254572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4" name="Straight Connector 143"/>
          <p:cNvCxnSpPr>
            <a:stCxn id="131" idx="1"/>
            <a:endCxn id="115" idx="3"/>
          </p:cNvCxnSpPr>
          <p:nvPr/>
        </p:nvCxnSpPr>
        <p:spPr>
          <a:xfrm flipH="1">
            <a:off x="7974013" y="435138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6" name="Straight Connector 145"/>
          <p:cNvCxnSpPr>
            <a:stCxn id="115" idx="1"/>
            <a:endCxn id="98" idx="3"/>
          </p:cNvCxnSpPr>
          <p:nvPr/>
        </p:nvCxnSpPr>
        <p:spPr>
          <a:xfrm flipH="1">
            <a:off x="4070349" y="435138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8" name="Straight Connector 147"/>
          <p:cNvCxnSpPr/>
          <p:nvPr/>
        </p:nvCxnSpPr>
        <p:spPr>
          <a:xfrm>
            <a:off x="11554182" y="3308350"/>
            <a:ext cx="0" cy="280409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sp>
        <p:nvSpPr>
          <p:cNvPr id="48" name="Rectangle 47"/>
          <p:cNvSpPr/>
          <p:nvPr/>
        </p:nvSpPr>
        <p:spPr>
          <a:xfrm>
            <a:off x="0" y="5558844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Регулируемые услуги оказываются с учетом требований к качеству, установленных государственными органами в пределах их компетенции</a:t>
            </a:r>
          </a:p>
        </p:txBody>
      </p:sp>
      <p:sp>
        <p:nvSpPr>
          <p:cNvPr id="50" name="Freeform 223"/>
          <p:cNvSpPr>
            <a:spLocks noEditPoints="1"/>
          </p:cNvSpPr>
          <p:nvPr/>
        </p:nvSpPr>
        <p:spPr bwMode="auto">
          <a:xfrm>
            <a:off x="3540549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223"/>
          <p:cNvSpPr>
            <a:spLocks noEditPoints="1"/>
          </p:cNvSpPr>
          <p:nvPr/>
        </p:nvSpPr>
        <p:spPr bwMode="auto">
          <a:xfrm>
            <a:off x="744421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223"/>
          <p:cNvSpPr>
            <a:spLocks noEditPoints="1"/>
          </p:cNvSpPr>
          <p:nvPr/>
        </p:nvSpPr>
        <p:spPr bwMode="auto">
          <a:xfrm>
            <a:off x="1134946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223"/>
          <p:cNvSpPr>
            <a:spLocks noEditPoints="1"/>
          </p:cNvSpPr>
          <p:nvPr/>
        </p:nvSpPr>
        <p:spPr bwMode="auto">
          <a:xfrm>
            <a:off x="3540549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223"/>
          <p:cNvSpPr>
            <a:spLocks noEditPoints="1"/>
          </p:cNvSpPr>
          <p:nvPr/>
        </p:nvSpPr>
        <p:spPr bwMode="auto">
          <a:xfrm>
            <a:off x="7444213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223"/>
          <p:cNvSpPr>
            <a:spLocks noEditPoints="1"/>
          </p:cNvSpPr>
          <p:nvPr/>
        </p:nvSpPr>
        <p:spPr bwMode="auto">
          <a:xfrm>
            <a:off x="11349463" y="486081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TextBox 60"/>
          <p:cNvSpPr txBox="1"/>
          <p:nvPr/>
        </p:nvSpPr>
        <p:spPr>
          <a:xfrm>
            <a:off x="370358" y="1149983"/>
            <a:ext cx="7767587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/>
              <a:t>Качество предоставляемых услуг обеспечивается: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611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solidFill>
                  <a:schemeClr val="accent1"/>
                </a:solidFill>
                <a:sym typeface="Open Sans"/>
              </a:rPr>
              <a:t>Соблюдение нормативных требований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518502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Контроль качества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29224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Надёжность и состояние инфраструктуры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344137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Квалификация персонала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461611" y="3707531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Работа с потребителями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35154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Энергосбережение и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ресурсоэффективность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endParaRPr lang="ru-RU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798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ORyl.nSg2QMSGFH9PC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c06wN.GEd8n7ZgumBB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qUc1fpQa_hDO3bSv8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ayRfDUbHSgL2cErPVs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0iuf7468dNCTxmqjAY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bHigGcq_zUwLE2fEAr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EJCmG12frvm_Byum5rM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BRB8dZzFk0DAa0RQNR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gn3LbNPykKSLhv8i5G7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yWJvuYha0IBIPsfXfOC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zlqVmUt_bjsF.L9pG9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HUpZwI9.JpxbW8p0S6Q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Z473MI71LRUEmKskgH0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aCerh2rufuCQ01t_XZP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p410JmzyEdXN1xp3hA8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5SSKTs_Zqij1GOgMj_F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5p1mOtvU1lH1_6XR4Dt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hig3Idp87FjXcrEZrp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uc4vo7353_9.GhtK6f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OTCfew4SAlNHfT93g5S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VYNZPJS.QEb_617ZS30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V2MeIpVQWcyGkwT_C7a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ew723Tgr7RMg7mGNjlz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jdgfvQNwhh4SOE_1n_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LWb6iCBvSVbq_L8k7Kc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Ou_t3_W7H.D66WEtkC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VLY0rDZdo6Hz9n9dfF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4GgFWNwTAbn7bg9MJQD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Y.Rbxdsz2J_ZjimrSqG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UnSHX4aqZOr9qg651u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bSbyulMNPSoB2Kb0nC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6IZAggvefxRxYg4mNU6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8CPwFD3GRzt.5oK2NWl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3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10" ma:contentTypeDescription="Создание документа." ma:contentTypeScope="" ma:versionID="30c03a8721c12eacc24a4a6a7491c3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7BC26CC-B2F1-4088-B519-35393224FB8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D9BF692-53D4-4DEC-8282-250BB9170889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B47B0B24-AEBA-4DFF-94F2-E519378CA232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006531CA-FA80-4FC1-8E6B-983EC72D86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5.xml><?xml version="1.0" encoding="utf-8"?>
<ds:datastoreItem xmlns:ds="http://schemas.openxmlformats.org/officeDocument/2006/customXml" ds:itemID="{A5EE0E1E-0B15-4740-95FC-5FF232746345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8003</TotalTime>
  <Words>1609</Words>
  <Application>Microsoft Office PowerPoint</Application>
  <PresentationFormat>Широкоэкранный</PresentationFormat>
  <Paragraphs>405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2</vt:i4>
      </vt:variant>
    </vt:vector>
  </HeadingPairs>
  <TitlesOfParts>
    <vt:vector size="23" baseType="lpstr">
      <vt:lpstr>Arial</vt:lpstr>
      <vt:lpstr>Arial (Основной текст)</vt:lpstr>
      <vt:lpstr>Calibri</vt:lpstr>
      <vt:lpstr>Montserrat</vt:lpstr>
      <vt:lpstr>Open Sans</vt:lpstr>
      <vt:lpstr>Segoe UI Semibold</vt:lpstr>
      <vt:lpstr>Times New Roman</vt:lpstr>
      <vt:lpstr>Wingdings</vt:lpstr>
      <vt:lpstr>ERG</vt:lpstr>
      <vt:lpstr>Слайд think-cell</vt:lpstr>
      <vt:lpstr>Лист Microsoft Excel</vt:lpstr>
      <vt:lpstr>Презентация PowerPoint</vt:lpstr>
      <vt:lpstr>ЕЭК:  Общая информация о субъекте естественной монополии</vt:lpstr>
      <vt:lpstr>ЕЭК: Информация об исполнении утвержденной инвестиционной программы за 1 полугодие 2026 года</vt:lpstr>
      <vt:lpstr>ЕЭК: Информация о постатейном исполнении утвержденной тарифной сметы по производству тепловой энергии за 1 полугодие 2026 года</vt:lpstr>
      <vt:lpstr>ЕЭК: Отчет о постатейном исполнении утвержденной тарифной сметы по производству тепловой энергии за 1 полугодие 2026 года</vt:lpstr>
      <vt:lpstr>ЕЭК: Информация о соблюдении показателей качества и надежности регулируемых услуг и достижении показателей эффективности деятельности за 1 полугодие 2026 года</vt:lpstr>
      <vt:lpstr>ЕЭК: Информация об основных финансово-экономических показателях и об объемах предоставленных услуг по производству тепловой энергии за 1 полугодие 2026 года</vt:lpstr>
      <vt:lpstr>ЕЭК: Информация о проводимой работе с потребителями регулируемых услуг</vt:lpstr>
      <vt:lpstr>Информация о качестве предоставляемых регулируемых услуг</vt:lpstr>
      <vt:lpstr> ЕЭК: Перспективы деятельности (планах развития), в том числе возможных изменениях тарифов                                                 </vt:lpstr>
      <vt:lpstr>Информация об оказываемой услуге – подача воды по распределительным сетям (малая мощность)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Donchenko</dc:creator>
  <cp:lastModifiedBy>Yelena Kochetkova</cp:lastModifiedBy>
  <cp:revision>1412</cp:revision>
  <cp:lastPrinted>2023-07-12T08:24:27Z</cp:lastPrinted>
  <dcterms:created xsi:type="dcterms:W3CDTF">2017-11-25T12:09:27Z</dcterms:created>
  <dcterms:modified xsi:type="dcterms:W3CDTF">2026-07-13T10:14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